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7" r:id="rId4"/>
    <p:sldMasterId id="2147483694" r:id="rId5"/>
    <p:sldMasterId id="2147483718" r:id="rId6"/>
  </p:sldMasterIdLst>
  <p:notesMasterIdLst>
    <p:notesMasterId r:id="rId62"/>
  </p:notesMasterIdLst>
  <p:handoutMasterIdLst>
    <p:handoutMasterId r:id="rId63"/>
  </p:handoutMasterIdLst>
  <p:sldIdLst>
    <p:sldId id="2147483632" r:id="rId7"/>
    <p:sldId id="264" r:id="rId8"/>
    <p:sldId id="266" r:id="rId9"/>
    <p:sldId id="2141411392" r:id="rId10"/>
    <p:sldId id="2147307739" r:id="rId11"/>
    <p:sldId id="2147307785" r:id="rId12"/>
    <p:sldId id="2147480525" r:id="rId13"/>
    <p:sldId id="2147483639" r:id="rId14"/>
    <p:sldId id="1692" r:id="rId15"/>
    <p:sldId id="1712" r:id="rId16"/>
    <p:sldId id="265" r:id="rId17"/>
    <p:sldId id="268" r:id="rId18"/>
    <p:sldId id="2147471145" r:id="rId19"/>
    <p:sldId id="259" r:id="rId20"/>
    <p:sldId id="258" r:id="rId21"/>
    <p:sldId id="269" r:id="rId22"/>
    <p:sldId id="2147307883" r:id="rId23"/>
    <p:sldId id="1288" r:id="rId24"/>
    <p:sldId id="1295" r:id="rId25"/>
    <p:sldId id="2147471141" r:id="rId26"/>
    <p:sldId id="2147471154" r:id="rId27"/>
    <p:sldId id="2147307743" r:id="rId28"/>
    <p:sldId id="2147471132" r:id="rId29"/>
    <p:sldId id="2147471133" r:id="rId30"/>
    <p:sldId id="2147483643" r:id="rId31"/>
    <p:sldId id="262" r:id="rId32"/>
    <p:sldId id="256" r:id="rId33"/>
    <p:sldId id="257" r:id="rId34"/>
    <p:sldId id="267" r:id="rId35"/>
    <p:sldId id="2147480524" r:id="rId36"/>
    <p:sldId id="2147307924" r:id="rId37"/>
    <p:sldId id="2147307925" r:id="rId38"/>
    <p:sldId id="2147307926" r:id="rId39"/>
    <p:sldId id="2147307927" r:id="rId40"/>
    <p:sldId id="2147483647" r:id="rId41"/>
    <p:sldId id="270" r:id="rId42"/>
    <p:sldId id="2147469349" r:id="rId43"/>
    <p:sldId id="2147483644" r:id="rId44"/>
    <p:sldId id="2147483645" r:id="rId45"/>
    <p:sldId id="2147483646" r:id="rId46"/>
    <p:sldId id="2147483614" r:id="rId47"/>
    <p:sldId id="260" r:id="rId48"/>
    <p:sldId id="261" r:id="rId49"/>
    <p:sldId id="263" r:id="rId50"/>
    <p:sldId id="271" r:id="rId51"/>
    <p:sldId id="272" r:id="rId52"/>
    <p:sldId id="273" r:id="rId53"/>
    <p:sldId id="274" r:id="rId54"/>
    <p:sldId id="275" r:id="rId55"/>
    <p:sldId id="276" r:id="rId56"/>
    <p:sldId id="277" r:id="rId57"/>
    <p:sldId id="278" r:id="rId58"/>
    <p:sldId id="279" r:id="rId59"/>
    <p:sldId id="280" r:id="rId60"/>
    <p:sldId id="281" r:id="rId61"/>
  </p:sldIdLst>
  <p:sldSz cx="12188825" cy="6858000"/>
  <p:notesSz cx="6858000" cy="9313863"/>
  <p:custDataLst>
    <p:tags r:id="rId6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EFBBF88-A4E2-4B5C-92A0-612EF7209A50}">
          <p14:sldIdLst>
            <p14:sldId id="2147483632"/>
            <p14:sldId id="264"/>
          </p14:sldIdLst>
        </p14:section>
        <p14:section name="rhGH" id="{894A1091-BD49-44B5-81E5-51A121D97DD7}">
          <p14:sldIdLst>
            <p14:sldId id="266"/>
            <p14:sldId id="2141411392"/>
            <p14:sldId id="2147307739"/>
            <p14:sldId id="2147307785"/>
            <p14:sldId id="2147480525"/>
            <p14:sldId id="2147483639"/>
            <p14:sldId id="1692"/>
            <p14:sldId id="1712"/>
            <p14:sldId id="265"/>
          </p14:sldIdLst>
        </p14:section>
        <p14:section name="LAGH &amp; mech.działania" id="{DFD81C11-8D9B-44FA-A46C-A9BF81AF05E6}">
          <p14:sldIdLst>
            <p14:sldId id="268"/>
            <p14:sldId id="2147471145"/>
            <p14:sldId id="259"/>
            <p14:sldId id="258"/>
          </p14:sldIdLst>
        </p14:section>
        <p14:section name="Prog.klin" id="{EECCF4BA-809B-46C2-8234-5936994096A1}">
          <p14:sldIdLst>
            <p14:sldId id="269"/>
            <p14:sldId id="2147307883"/>
            <p14:sldId id="1288"/>
            <p14:sldId id="1295"/>
            <p14:sldId id="2147471141"/>
            <p14:sldId id="2147471154"/>
            <p14:sldId id="2147307743"/>
            <p14:sldId id="2147471132"/>
            <p14:sldId id="2147471133"/>
            <p14:sldId id="2147483643"/>
            <p14:sldId id="262"/>
          </p14:sldIdLst>
        </p14:section>
        <p14:section name="Sposób podawania" id="{D517D4F1-3EEE-44F3-9AD3-03C6844CF9E8}">
          <p14:sldIdLst>
            <p14:sldId id="256"/>
            <p14:sldId id="257"/>
            <p14:sldId id="267"/>
            <p14:sldId id="2147480524"/>
            <p14:sldId id="2147307924"/>
            <p14:sldId id="2147307925"/>
            <p14:sldId id="2147307926"/>
            <p14:sldId id="2147307927"/>
          </p14:sldIdLst>
        </p14:section>
        <p14:section name="Monitorowanie IGF-1" id="{C5FAEA91-AC46-4DE5-B391-820D9E0FD496}">
          <p14:sldIdLst>
            <p14:sldId id="2147483647"/>
            <p14:sldId id="270"/>
            <p14:sldId id="2147469349"/>
            <p14:sldId id="2147483644"/>
            <p14:sldId id="2147483645"/>
            <p14:sldId id="2147483646"/>
          </p14:sldIdLst>
        </p14:section>
        <p14:section name="End" id="{223A66AB-4348-4EF0-98C1-5810AB1CEA41}">
          <p14:sldIdLst>
            <p14:sldId id="2147483614"/>
            <p14:sldId id="260"/>
            <p14:sldId id="261"/>
            <p14:sldId id="263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pos="279">
          <p15:clr>
            <a:srgbClr val="A4A3A4"/>
          </p15:clr>
        </p15:guide>
        <p15:guide id="6" pos="7406">
          <p15:clr>
            <a:srgbClr val="A4A3A4"/>
          </p15:clr>
        </p15:guide>
        <p15:guide id="7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99FF"/>
    <a:srgbClr val="000484"/>
    <a:srgbClr val="003FE2"/>
    <a:srgbClr val="F4DDBA"/>
    <a:srgbClr val="FFFFFF"/>
    <a:srgbClr val="0672BD"/>
    <a:srgbClr val="00004E"/>
    <a:srgbClr val="66BFFF"/>
    <a:srgbClr val="CCEAFF"/>
    <a:srgbClr val="E6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A49211-C747-44AC-BA32-D7CBD4EEC36D}" v="1" dt="2025-03-27T11:24:50.5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36" autoAdjust="0"/>
    <p:restoredTop sz="94411" autoAdjust="0"/>
  </p:normalViewPr>
  <p:slideViewPr>
    <p:cSldViewPr snapToGrid="0">
      <p:cViewPr varScale="1">
        <p:scale>
          <a:sx n="67" d="100"/>
          <a:sy n="67" d="100"/>
        </p:scale>
        <p:origin x="472" y="272"/>
      </p:cViewPr>
      <p:guideLst>
        <p:guide pos="3840"/>
        <p:guide pos="279"/>
        <p:guide pos="7406"/>
        <p:guide orient="horz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2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tags" Target="tags/tag1.xml"/><Relationship Id="rId69" Type="http://schemas.microsoft.com/office/2016/11/relationships/changesInfo" Target="changesInfos/changesInfo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notesMaster" Target="notesMasters/notesMaster1.xml"/><Relationship Id="rId7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czyńska, Katarzyna" userId="ae208263-ee3b-4618-9cf3-261dd1e8808c" providerId="ADAL" clId="{3EA49211-C747-44AC-BA32-D7CBD4EEC36D}"/>
    <pc:docChg chg="modSld">
      <pc:chgData name="Kaczyńska, Katarzyna" userId="ae208263-ee3b-4618-9cf3-261dd1e8808c" providerId="ADAL" clId="{3EA49211-C747-44AC-BA32-D7CBD4EEC36D}" dt="2025-03-27T11:25:20.600" v="1" actId="20577"/>
      <pc:docMkLst>
        <pc:docMk/>
      </pc:docMkLst>
      <pc:sldChg chg="modSp mod">
        <pc:chgData name="Kaczyńska, Katarzyna" userId="ae208263-ee3b-4618-9cf3-261dd1e8808c" providerId="ADAL" clId="{3EA49211-C747-44AC-BA32-D7CBD4EEC36D}" dt="2025-03-27T11:25:20.600" v="1" actId="20577"/>
        <pc:sldMkLst>
          <pc:docMk/>
          <pc:sldMk cId="2506973914" sldId="2147483632"/>
        </pc:sldMkLst>
        <pc:spChg chg="mod">
          <ac:chgData name="Kaczyńska, Katarzyna" userId="ae208263-ee3b-4618-9cf3-261dd1e8808c" providerId="ADAL" clId="{3EA49211-C747-44AC-BA32-D7CBD4EEC36D}" dt="2025-03-27T11:25:20.600" v="1" actId="20577"/>
          <ac:spMkLst>
            <pc:docMk/>
            <pc:sldMk cId="2506973914" sldId="2147483632"/>
            <ac:spMk id="8" creationId="{A437307C-3798-BCD1-7DA3-042013248932}"/>
          </ac:spMkLst>
        </pc:spChg>
      </pc:sldChg>
    </pc:docChg>
  </pc:docChgLst>
  <pc:docChgLst>
    <pc:chgData name="Kaczyńska, Katarzyna" userId="ae208263-ee3b-4618-9cf3-261dd1e8808c" providerId="ADAL" clId="{EC4B1308-91ED-4AD6-9CD1-51F45E4EA3DB}"/>
    <pc:docChg chg="undo custSel modSld">
      <pc:chgData name="Kaczyńska, Katarzyna" userId="ae208263-ee3b-4618-9cf3-261dd1e8808c" providerId="ADAL" clId="{EC4B1308-91ED-4AD6-9CD1-51F45E4EA3DB}" dt="2025-03-18T17:36:56.356" v="120" actId="1076"/>
      <pc:docMkLst>
        <pc:docMk/>
      </pc:docMkLst>
      <pc:sldChg chg="addSp delSp modSp mod">
        <pc:chgData name="Kaczyńska, Katarzyna" userId="ae208263-ee3b-4618-9cf3-261dd1e8808c" providerId="ADAL" clId="{EC4B1308-91ED-4AD6-9CD1-51F45E4EA3DB}" dt="2025-03-18T17:36:56.356" v="120" actId="1076"/>
        <pc:sldMkLst>
          <pc:docMk/>
          <pc:sldMk cId="2506973914" sldId="2147483632"/>
        </pc:sldMkLst>
        <pc:spChg chg="mod">
          <ac:chgData name="Kaczyńska, Katarzyna" userId="ae208263-ee3b-4618-9cf3-261dd1e8808c" providerId="ADAL" clId="{EC4B1308-91ED-4AD6-9CD1-51F45E4EA3DB}" dt="2025-03-18T17:36:56.356" v="120" actId="1076"/>
          <ac:spMkLst>
            <pc:docMk/>
            <pc:sldMk cId="2506973914" sldId="2147483632"/>
            <ac:spMk id="8" creationId="{A437307C-3798-BCD1-7DA3-042013248932}"/>
          </ac:spMkLst>
        </pc:spChg>
        <pc:spChg chg="add mod">
          <ac:chgData name="Kaczyńska, Katarzyna" userId="ae208263-ee3b-4618-9cf3-261dd1e8808c" providerId="ADAL" clId="{EC4B1308-91ED-4AD6-9CD1-51F45E4EA3DB}" dt="2025-03-18T17:30:18.074" v="82" actId="1076"/>
          <ac:spMkLst>
            <pc:docMk/>
            <pc:sldMk cId="2506973914" sldId="2147483632"/>
            <ac:spMk id="34" creationId="{50DFD5CB-FEC0-9938-7C4E-CF1F1E8E5F6C}"/>
          </ac:spMkLst>
        </pc:spChg>
        <pc:picChg chg="add mod">
          <ac:chgData name="Kaczyńska, Katarzyna" userId="ae208263-ee3b-4618-9cf3-261dd1e8808c" providerId="ADAL" clId="{EC4B1308-91ED-4AD6-9CD1-51F45E4EA3DB}" dt="2025-03-18T17:30:59.392" v="92" actId="1076"/>
          <ac:picMkLst>
            <pc:docMk/>
            <pc:sldMk cId="2506973914" sldId="2147483632"/>
            <ac:picMk id="21" creationId="{4A9EECF6-26D3-C41C-12E1-89ABB9462F95}"/>
          </ac:picMkLst>
        </pc:picChg>
        <pc:picChg chg="add mod">
          <ac:chgData name="Kaczyńska, Katarzyna" userId="ae208263-ee3b-4618-9cf3-261dd1e8808c" providerId="ADAL" clId="{EC4B1308-91ED-4AD6-9CD1-51F45E4EA3DB}" dt="2025-03-18T17:30:30.605" v="85" actId="1076"/>
          <ac:picMkLst>
            <pc:docMk/>
            <pc:sldMk cId="2506973914" sldId="2147483632"/>
            <ac:picMk id="31" creationId="{20955E24-3501-815F-56CA-65F7183B9BF8}"/>
          </ac:picMkLst>
        </pc:picChg>
        <pc:picChg chg="add mod">
          <ac:chgData name="Kaczyńska, Katarzyna" userId="ae208263-ee3b-4618-9cf3-261dd1e8808c" providerId="ADAL" clId="{EC4B1308-91ED-4AD6-9CD1-51F45E4EA3DB}" dt="2025-03-18T17:30:27.076" v="84" actId="1076"/>
          <ac:picMkLst>
            <pc:docMk/>
            <pc:sldMk cId="2506973914" sldId="2147483632"/>
            <ac:picMk id="33" creationId="{4FD4E151-963E-8C48-9D2B-104A71FFA3E5}"/>
          </ac:picMkLst>
        </pc:picChg>
        <pc:picChg chg="add mod">
          <ac:chgData name="Kaczyńska, Katarzyna" userId="ae208263-ee3b-4618-9cf3-261dd1e8808c" providerId="ADAL" clId="{EC4B1308-91ED-4AD6-9CD1-51F45E4EA3DB}" dt="2025-03-18T17:30:46.026" v="90" actId="1076"/>
          <ac:picMkLst>
            <pc:docMk/>
            <pc:sldMk cId="2506973914" sldId="2147483632"/>
            <ac:picMk id="35" creationId="{BE63B5A6-7515-AE64-7DFA-9AD5BC01BE9E}"/>
          </ac:picMkLst>
        </pc:picChg>
      </pc:sldChg>
    </pc:docChg>
  </pc:docChgLst>
  <pc:docChgLst>
    <pc:chgData name="Walecka, Iwona" userId="4149cbe0-6e59-4428-8049-4aac2a9c1584" providerId="ADAL" clId="{15B3E012-BFE1-43B7-8733-5A3A6FDE0974}"/>
    <pc:docChg chg="undo custSel addSld delSld modSld modMainMaster modSection">
      <pc:chgData name="Walecka, Iwona" userId="4149cbe0-6e59-4428-8049-4aac2a9c1584" providerId="ADAL" clId="{15B3E012-BFE1-43B7-8733-5A3A6FDE0974}" dt="2025-03-25T16:55:11.929" v="63" actId="1076"/>
      <pc:docMkLst>
        <pc:docMk/>
      </pc:docMkLst>
      <pc:sldChg chg="addSp modSp">
        <pc:chgData name="Walecka, Iwona" userId="4149cbe0-6e59-4428-8049-4aac2a9c1584" providerId="ADAL" clId="{15B3E012-BFE1-43B7-8733-5A3A6FDE0974}" dt="2025-03-25T16:44:36.112" v="37"/>
        <pc:sldMkLst>
          <pc:docMk/>
          <pc:sldMk cId="3989503018" sldId="256"/>
        </pc:sldMkLst>
        <pc:picChg chg="add mod">
          <ac:chgData name="Walecka, Iwona" userId="4149cbe0-6e59-4428-8049-4aac2a9c1584" providerId="ADAL" clId="{15B3E012-BFE1-43B7-8733-5A3A6FDE0974}" dt="2025-03-25T16:44:36.112" v="37"/>
          <ac:picMkLst>
            <pc:docMk/>
            <pc:sldMk cId="3989503018" sldId="256"/>
            <ac:picMk id="2" creationId="{A3A7FCCF-B51D-5A33-7999-A28B8DCD9BBA}"/>
          </ac:picMkLst>
        </pc:picChg>
      </pc:sldChg>
      <pc:sldChg chg="addSp modSp">
        <pc:chgData name="Walecka, Iwona" userId="4149cbe0-6e59-4428-8049-4aac2a9c1584" providerId="ADAL" clId="{15B3E012-BFE1-43B7-8733-5A3A6FDE0974}" dt="2025-03-25T16:44:39.539" v="38"/>
        <pc:sldMkLst>
          <pc:docMk/>
          <pc:sldMk cId="2885782477" sldId="257"/>
        </pc:sldMkLst>
        <pc:picChg chg="add mod">
          <ac:chgData name="Walecka, Iwona" userId="4149cbe0-6e59-4428-8049-4aac2a9c1584" providerId="ADAL" clId="{15B3E012-BFE1-43B7-8733-5A3A6FDE0974}" dt="2025-03-25T16:44:39.539" v="38"/>
          <ac:picMkLst>
            <pc:docMk/>
            <pc:sldMk cId="2885782477" sldId="257"/>
            <ac:picMk id="2" creationId="{E3EC18FF-5504-D4B9-F8F4-D6F9585156E2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44:23.755" v="36" actId="1076"/>
        <pc:sldMkLst>
          <pc:docMk/>
          <pc:sldMk cId="2013330287" sldId="262"/>
        </pc:sldMkLst>
        <pc:picChg chg="add mod">
          <ac:chgData name="Walecka, Iwona" userId="4149cbe0-6e59-4428-8049-4aac2a9c1584" providerId="ADAL" clId="{15B3E012-BFE1-43B7-8733-5A3A6FDE0974}" dt="2025-03-25T16:44:23.755" v="36" actId="1076"/>
          <ac:picMkLst>
            <pc:docMk/>
            <pc:sldMk cId="2013330287" sldId="262"/>
            <ac:picMk id="3" creationId="{E219C58A-BB76-BE3A-923B-C388B3D51C39}"/>
          </ac:picMkLst>
        </pc:picChg>
      </pc:sldChg>
      <pc:sldChg chg="addSp delSp modSp mod">
        <pc:chgData name="Walecka, Iwona" userId="4149cbe0-6e59-4428-8049-4aac2a9c1584" providerId="ADAL" clId="{15B3E012-BFE1-43B7-8733-5A3A6FDE0974}" dt="2025-03-25T16:42:01.340" v="9" actId="1076"/>
        <pc:sldMkLst>
          <pc:docMk/>
          <pc:sldMk cId="2858190815" sldId="264"/>
        </pc:sldMkLst>
        <pc:spChg chg="mod">
          <ac:chgData name="Walecka, Iwona" userId="4149cbe0-6e59-4428-8049-4aac2a9c1584" providerId="ADAL" clId="{15B3E012-BFE1-43B7-8733-5A3A6FDE0974}" dt="2025-03-25T16:41:55.323" v="7" actId="14100"/>
          <ac:spMkLst>
            <pc:docMk/>
            <pc:sldMk cId="2858190815" sldId="264"/>
            <ac:spMk id="4" creationId="{947478BE-C660-0198-3AC0-E55F51F4896D}"/>
          </ac:spMkLst>
        </pc:spChg>
        <pc:picChg chg="add mod">
          <ac:chgData name="Walecka, Iwona" userId="4149cbe0-6e59-4428-8049-4aac2a9c1584" providerId="ADAL" clId="{15B3E012-BFE1-43B7-8733-5A3A6FDE0974}" dt="2025-03-25T16:42:01.340" v="9" actId="1076"/>
          <ac:picMkLst>
            <pc:docMk/>
            <pc:sldMk cId="2858190815" sldId="264"/>
            <ac:picMk id="8" creationId="{5223EABD-8481-C7AE-E1C9-29F5567A4113}"/>
          </ac:picMkLst>
        </pc:picChg>
      </pc:sldChg>
      <pc:sldChg chg="addSp modSp">
        <pc:chgData name="Walecka, Iwona" userId="4149cbe0-6e59-4428-8049-4aac2a9c1584" providerId="ADAL" clId="{15B3E012-BFE1-43B7-8733-5A3A6FDE0974}" dt="2025-03-25T16:43:18.076" v="23"/>
        <pc:sldMkLst>
          <pc:docMk/>
          <pc:sldMk cId="2569602923" sldId="265"/>
        </pc:sldMkLst>
        <pc:picChg chg="add mod">
          <ac:chgData name="Walecka, Iwona" userId="4149cbe0-6e59-4428-8049-4aac2a9c1584" providerId="ADAL" clId="{15B3E012-BFE1-43B7-8733-5A3A6FDE0974}" dt="2025-03-25T16:43:18.076" v="23"/>
          <ac:picMkLst>
            <pc:docMk/>
            <pc:sldMk cId="2569602923" sldId="265"/>
            <ac:picMk id="2" creationId="{FA0A0188-D192-BC01-F9AB-7D18A53CC5DC}"/>
          </ac:picMkLst>
        </pc:picChg>
      </pc:sldChg>
      <pc:sldChg chg="addSp modSp">
        <pc:chgData name="Walecka, Iwona" userId="4149cbe0-6e59-4428-8049-4aac2a9c1584" providerId="ADAL" clId="{15B3E012-BFE1-43B7-8733-5A3A6FDE0974}" dt="2025-03-25T16:42:09.606" v="10"/>
        <pc:sldMkLst>
          <pc:docMk/>
          <pc:sldMk cId="3168801084" sldId="266"/>
        </pc:sldMkLst>
        <pc:picChg chg="add mod">
          <ac:chgData name="Walecka, Iwona" userId="4149cbe0-6e59-4428-8049-4aac2a9c1584" providerId="ADAL" clId="{15B3E012-BFE1-43B7-8733-5A3A6FDE0974}" dt="2025-03-25T16:42:09.606" v="10"/>
          <ac:picMkLst>
            <pc:docMk/>
            <pc:sldMk cId="3168801084" sldId="266"/>
            <ac:picMk id="2" creationId="{37F2CF76-B9A1-ABFE-B78E-4A03CBF7E4E3}"/>
          </ac:picMkLst>
        </pc:picChg>
      </pc:sldChg>
      <pc:sldChg chg="addSp modSp">
        <pc:chgData name="Walecka, Iwona" userId="4149cbe0-6e59-4428-8049-4aac2a9c1584" providerId="ADAL" clId="{15B3E012-BFE1-43B7-8733-5A3A6FDE0974}" dt="2025-03-25T16:43:25.122" v="24"/>
        <pc:sldMkLst>
          <pc:docMk/>
          <pc:sldMk cId="1937881639" sldId="268"/>
        </pc:sldMkLst>
        <pc:picChg chg="add mod">
          <ac:chgData name="Walecka, Iwona" userId="4149cbe0-6e59-4428-8049-4aac2a9c1584" providerId="ADAL" clId="{15B3E012-BFE1-43B7-8733-5A3A6FDE0974}" dt="2025-03-25T16:43:25.122" v="24"/>
          <ac:picMkLst>
            <pc:docMk/>
            <pc:sldMk cId="1937881639" sldId="268"/>
            <ac:picMk id="2" creationId="{B62EDBBB-45D9-5659-D0F7-9025AC6C318D}"/>
          </ac:picMkLst>
        </pc:picChg>
      </pc:sldChg>
      <pc:sldChg chg="addSp modSp">
        <pc:chgData name="Walecka, Iwona" userId="4149cbe0-6e59-4428-8049-4aac2a9c1584" providerId="ADAL" clId="{15B3E012-BFE1-43B7-8733-5A3A6FDE0974}" dt="2025-03-25T16:43:34.074" v="25"/>
        <pc:sldMkLst>
          <pc:docMk/>
          <pc:sldMk cId="524046887" sldId="269"/>
        </pc:sldMkLst>
        <pc:picChg chg="add mod">
          <ac:chgData name="Walecka, Iwona" userId="4149cbe0-6e59-4428-8049-4aac2a9c1584" providerId="ADAL" clId="{15B3E012-BFE1-43B7-8733-5A3A6FDE0974}" dt="2025-03-25T16:43:34.074" v="25"/>
          <ac:picMkLst>
            <pc:docMk/>
            <pc:sldMk cId="524046887" sldId="269"/>
            <ac:picMk id="2" creationId="{C3272C67-4B62-193A-650D-E7852C53FD6A}"/>
          </ac:picMkLst>
        </pc:picChg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0" sldId="277"/>
        </pc:sldMkLst>
      </pc:sldChg>
      <pc:sldChg chg="new del">
        <pc:chgData name="Walecka, Iwona" userId="4149cbe0-6e59-4428-8049-4aac2a9c1584" providerId="ADAL" clId="{15B3E012-BFE1-43B7-8733-5A3A6FDE0974}" dt="2025-03-25T16:50:21.072" v="49" actId="47"/>
        <pc:sldMkLst>
          <pc:docMk/>
          <pc:sldMk cId="2664819579" sldId="277"/>
        </pc:sldMkLst>
      </pc:sldChg>
      <pc:sldChg chg="add del">
        <pc:chgData name="Walecka, Iwona" userId="4149cbe0-6e59-4428-8049-4aac2a9c1584" providerId="ADAL" clId="{15B3E012-BFE1-43B7-8733-5A3A6FDE0974}" dt="2025-03-25T16:50:57.406" v="62" actId="47"/>
        <pc:sldMkLst>
          <pc:docMk/>
          <pc:sldMk cId="0" sldId="278"/>
        </pc:sldMkLst>
      </pc:sldChg>
      <pc:sldChg chg="add del">
        <pc:chgData name="Walecka, Iwona" userId="4149cbe0-6e59-4428-8049-4aac2a9c1584" providerId="ADAL" clId="{15B3E012-BFE1-43B7-8733-5A3A6FDE0974}" dt="2025-03-25T16:50:57.117" v="61" actId="47"/>
        <pc:sldMkLst>
          <pc:docMk/>
          <pc:sldMk cId="0" sldId="279"/>
        </pc:sldMkLst>
      </pc:sldChg>
      <pc:sldChg chg="add del">
        <pc:chgData name="Walecka, Iwona" userId="4149cbe0-6e59-4428-8049-4aac2a9c1584" providerId="ADAL" clId="{15B3E012-BFE1-43B7-8733-5A3A6FDE0974}" dt="2025-03-25T16:50:56.749" v="60" actId="47"/>
        <pc:sldMkLst>
          <pc:docMk/>
          <pc:sldMk cId="0" sldId="280"/>
        </pc:sldMkLst>
      </pc:sldChg>
      <pc:sldChg chg="add del">
        <pc:chgData name="Walecka, Iwona" userId="4149cbe0-6e59-4428-8049-4aac2a9c1584" providerId="ADAL" clId="{15B3E012-BFE1-43B7-8733-5A3A6FDE0974}" dt="2025-03-25T16:50:56.349" v="59" actId="47"/>
        <pc:sldMkLst>
          <pc:docMk/>
          <pc:sldMk cId="0" sldId="281"/>
        </pc:sldMkLst>
      </pc:sldChg>
      <pc:sldChg chg="add del">
        <pc:chgData name="Walecka, Iwona" userId="4149cbe0-6e59-4428-8049-4aac2a9c1584" providerId="ADAL" clId="{15B3E012-BFE1-43B7-8733-5A3A6FDE0974}" dt="2025-03-25T16:50:55.939" v="58" actId="47"/>
        <pc:sldMkLst>
          <pc:docMk/>
          <pc:sldMk cId="0" sldId="282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1923613356" sldId="282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4058824693" sldId="282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1362250423" sldId="283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2890467018" sldId="283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3525972691" sldId="283"/>
        </pc:sldMkLst>
      </pc:sldChg>
      <pc:sldChg chg="add del">
        <pc:chgData name="Walecka, Iwona" userId="4149cbe0-6e59-4428-8049-4aac2a9c1584" providerId="ADAL" clId="{15B3E012-BFE1-43B7-8733-5A3A6FDE0974}" dt="2025-03-25T16:50:40.872" v="50" actId="47"/>
        <pc:sldMkLst>
          <pc:docMk/>
          <pc:sldMk cId="3866771476" sldId="283"/>
        </pc:sldMkLst>
      </pc:sldChg>
      <pc:sldChg chg="add del">
        <pc:chgData name="Walecka, Iwona" userId="4149cbe0-6e59-4428-8049-4aac2a9c1584" providerId="ADAL" clId="{15B3E012-BFE1-43B7-8733-5A3A6FDE0974}" dt="2025-03-25T16:50:48.989" v="57" actId="47"/>
        <pc:sldMkLst>
          <pc:docMk/>
          <pc:sldMk cId="10187413" sldId="284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590722806" sldId="284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903761859" sldId="284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2509169431" sldId="284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609407040" sldId="285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732283016" sldId="285"/>
        </pc:sldMkLst>
      </pc:sldChg>
      <pc:sldChg chg="add del">
        <pc:chgData name="Walecka, Iwona" userId="4149cbe0-6e59-4428-8049-4aac2a9c1584" providerId="ADAL" clId="{15B3E012-BFE1-43B7-8733-5A3A6FDE0974}" dt="2025-03-25T16:50:48.506" v="56" actId="47"/>
        <pc:sldMkLst>
          <pc:docMk/>
          <pc:sldMk cId="1936963366" sldId="285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4219008266" sldId="285"/>
        </pc:sldMkLst>
      </pc:sldChg>
      <pc:sldChg chg="add del">
        <pc:chgData name="Walecka, Iwona" userId="4149cbe0-6e59-4428-8049-4aac2a9c1584" providerId="ADAL" clId="{15B3E012-BFE1-43B7-8733-5A3A6FDE0974}" dt="2025-03-25T16:50:48.139" v="55" actId="47"/>
        <pc:sldMkLst>
          <pc:docMk/>
          <pc:sldMk cId="455797105" sldId="286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590201846" sldId="286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2081107957" sldId="286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2806977123" sldId="286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516024184" sldId="287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1134378731" sldId="287"/>
        </pc:sldMkLst>
      </pc:sldChg>
      <pc:sldChg chg="add del">
        <pc:chgData name="Walecka, Iwona" userId="4149cbe0-6e59-4428-8049-4aac2a9c1584" providerId="ADAL" clId="{15B3E012-BFE1-43B7-8733-5A3A6FDE0974}" dt="2025-03-25T16:50:47.813" v="54" actId="47"/>
        <pc:sldMkLst>
          <pc:docMk/>
          <pc:sldMk cId="1942610348" sldId="287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3245583566" sldId="287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925871348" sldId="288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1835536682" sldId="288"/>
        </pc:sldMkLst>
      </pc:sldChg>
      <pc:sldChg chg="add del">
        <pc:chgData name="Walecka, Iwona" userId="4149cbe0-6e59-4428-8049-4aac2a9c1584" providerId="ADAL" clId="{15B3E012-BFE1-43B7-8733-5A3A6FDE0974}" dt="2025-03-25T16:50:47.412" v="53" actId="47"/>
        <pc:sldMkLst>
          <pc:docMk/>
          <pc:sldMk cId="2109098368" sldId="288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4026293150" sldId="288"/>
        </pc:sldMkLst>
      </pc:sldChg>
      <pc:sldChg chg="del">
        <pc:chgData name="Walecka, Iwona" userId="4149cbe0-6e59-4428-8049-4aac2a9c1584" providerId="ADAL" clId="{15B3E012-BFE1-43B7-8733-5A3A6FDE0974}" dt="2025-03-25T16:49:14.320" v="44"/>
        <pc:sldMkLst>
          <pc:docMk/>
          <pc:sldMk cId="1343773994" sldId="289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1570524476" sldId="289"/>
        </pc:sldMkLst>
      </pc:sldChg>
      <pc:sldChg chg="add del">
        <pc:chgData name="Walecka, Iwona" userId="4149cbe0-6e59-4428-8049-4aac2a9c1584" providerId="ADAL" clId="{15B3E012-BFE1-43B7-8733-5A3A6FDE0974}" dt="2025-03-25T16:50:46.899" v="52" actId="47"/>
        <pc:sldMkLst>
          <pc:docMk/>
          <pc:sldMk cId="2645271749" sldId="289"/>
        </pc:sldMkLst>
      </pc:sldChg>
      <pc:sldChg chg="del">
        <pc:chgData name="Walecka, Iwona" userId="4149cbe0-6e59-4428-8049-4aac2a9c1584" providerId="ADAL" clId="{15B3E012-BFE1-43B7-8733-5A3A6FDE0974}" dt="2025-03-25T16:49:00.023" v="43"/>
        <pc:sldMkLst>
          <pc:docMk/>
          <pc:sldMk cId="3206182567" sldId="289"/>
        </pc:sldMkLst>
      </pc:sldChg>
      <pc:sldChg chg="add del">
        <pc:chgData name="Walecka, Iwona" userId="4149cbe0-6e59-4428-8049-4aac2a9c1584" providerId="ADAL" clId="{15B3E012-BFE1-43B7-8733-5A3A6FDE0974}" dt="2025-03-25T16:50:46.389" v="51" actId="47"/>
        <pc:sldMkLst>
          <pc:docMk/>
          <pc:sldMk cId="58834137" sldId="290"/>
        </pc:sldMkLst>
      </pc:sldChg>
      <pc:sldChg chg="add del">
        <pc:chgData name="Walecka, Iwona" userId="4149cbe0-6e59-4428-8049-4aac2a9c1584" providerId="ADAL" clId="{15B3E012-BFE1-43B7-8733-5A3A6FDE0974}" dt="2025-03-25T16:49:25.077" v="47"/>
        <pc:sldMkLst>
          <pc:docMk/>
          <pc:sldMk cId="2034103637" sldId="290"/>
        </pc:sldMkLst>
      </pc:sldChg>
      <pc:sldChg chg="addSp modSp">
        <pc:chgData name="Walecka, Iwona" userId="4149cbe0-6e59-4428-8049-4aac2a9c1584" providerId="ADAL" clId="{15B3E012-BFE1-43B7-8733-5A3A6FDE0974}" dt="2025-03-25T16:43:43.812" v="26"/>
        <pc:sldMkLst>
          <pc:docMk/>
          <pc:sldMk cId="0" sldId="1295"/>
        </pc:sldMkLst>
        <pc:picChg chg="add mod">
          <ac:chgData name="Walecka, Iwona" userId="4149cbe0-6e59-4428-8049-4aac2a9c1584" providerId="ADAL" clId="{15B3E012-BFE1-43B7-8733-5A3A6FDE0974}" dt="2025-03-25T16:43:43.812" v="26"/>
          <ac:picMkLst>
            <pc:docMk/>
            <pc:sldMk cId="0" sldId="1295"/>
            <ac:picMk id="3" creationId="{8FA12C4C-00D8-0B8B-1CD0-37218E7FC7F3}"/>
          </ac:picMkLst>
        </pc:picChg>
      </pc:sldChg>
      <pc:sldChg chg="addSp modSp">
        <pc:chgData name="Walecka, Iwona" userId="4149cbe0-6e59-4428-8049-4aac2a9c1584" providerId="ADAL" clId="{15B3E012-BFE1-43B7-8733-5A3A6FDE0974}" dt="2025-03-25T16:43:11.086" v="22"/>
        <pc:sldMkLst>
          <pc:docMk/>
          <pc:sldMk cId="0" sldId="1692"/>
        </pc:sldMkLst>
        <pc:picChg chg="add mod">
          <ac:chgData name="Walecka, Iwona" userId="4149cbe0-6e59-4428-8049-4aac2a9c1584" providerId="ADAL" clId="{15B3E012-BFE1-43B7-8733-5A3A6FDE0974}" dt="2025-03-25T16:43:11.086" v="22"/>
          <ac:picMkLst>
            <pc:docMk/>
            <pc:sldMk cId="0" sldId="1692"/>
            <ac:picMk id="2" creationId="{B1D20381-9F6D-0DA9-D12B-231ADBD0AC07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42:25.284" v="14" actId="1076"/>
        <pc:sldMkLst>
          <pc:docMk/>
          <pc:sldMk cId="294804041" sldId="2141411392"/>
        </pc:sldMkLst>
        <pc:picChg chg="add mod">
          <ac:chgData name="Walecka, Iwona" userId="4149cbe0-6e59-4428-8049-4aac2a9c1584" providerId="ADAL" clId="{15B3E012-BFE1-43B7-8733-5A3A6FDE0974}" dt="2025-03-25T16:42:25.284" v="14" actId="1076"/>
          <ac:picMkLst>
            <pc:docMk/>
            <pc:sldMk cId="294804041" sldId="2141411392"/>
            <ac:picMk id="5" creationId="{01DEF288-EEE5-4B70-02A5-059E5251F90A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55:11.929" v="63" actId="1076"/>
        <pc:sldMkLst>
          <pc:docMk/>
          <pc:sldMk cId="171338724" sldId="2147307739"/>
        </pc:sldMkLst>
        <pc:picChg chg="add mod">
          <ac:chgData name="Walecka, Iwona" userId="4149cbe0-6e59-4428-8049-4aac2a9c1584" providerId="ADAL" clId="{15B3E012-BFE1-43B7-8733-5A3A6FDE0974}" dt="2025-03-25T16:55:11.929" v="63" actId="1076"/>
          <ac:picMkLst>
            <pc:docMk/>
            <pc:sldMk cId="171338724" sldId="2147307739"/>
            <ac:picMk id="2" creationId="{675658AA-E862-DB7E-DBB3-329E4392DC12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44:07.082" v="32" actId="1076"/>
        <pc:sldMkLst>
          <pc:docMk/>
          <pc:sldMk cId="2160276468" sldId="2147307743"/>
        </pc:sldMkLst>
        <pc:picChg chg="add mod">
          <ac:chgData name="Walecka, Iwona" userId="4149cbe0-6e59-4428-8049-4aac2a9c1584" providerId="ADAL" clId="{15B3E012-BFE1-43B7-8733-5A3A6FDE0974}" dt="2025-03-25T16:44:07.082" v="32" actId="1076"/>
          <ac:picMkLst>
            <pc:docMk/>
            <pc:sldMk cId="2160276468" sldId="2147307743"/>
            <ac:picMk id="3" creationId="{F9507165-C398-3164-5E49-6223BF9522F1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42:53.872" v="19" actId="1076"/>
        <pc:sldMkLst>
          <pc:docMk/>
          <pc:sldMk cId="1889128139" sldId="2147307785"/>
        </pc:sldMkLst>
        <pc:picChg chg="add mod">
          <ac:chgData name="Walecka, Iwona" userId="4149cbe0-6e59-4428-8049-4aac2a9c1584" providerId="ADAL" clId="{15B3E012-BFE1-43B7-8733-5A3A6FDE0974}" dt="2025-03-25T16:42:53.872" v="19" actId="1076"/>
          <ac:picMkLst>
            <pc:docMk/>
            <pc:sldMk cId="1889128139" sldId="2147307785"/>
            <ac:picMk id="6" creationId="{301DD593-F5CC-1D24-8576-5343057F6AE7}"/>
          </ac:picMkLst>
        </pc:picChg>
      </pc:sldChg>
      <pc:sldChg chg="addSp modSp">
        <pc:chgData name="Walecka, Iwona" userId="4149cbe0-6e59-4428-8049-4aac2a9c1584" providerId="ADAL" clId="{15B3E012-BFE1-43B7-8733-5A3A6FDE0974}" dt="2025-03-25T16:45:02.534" v="41"/>
        <pc:sldMkLst>
          <pc:docMk/>
          <pc:sldMk cId="226302064" sldId="2147469349"/>
        </pc:sldMkLst>
        <pc:picChg chg="add mod">
          <ac:chgData name="Walecka, Iwona" userId="4149cbe0-6e59-4428-8049-4aac2a9c1584" providerId="ADAL" clId="{15B3E012-BFE1-43B7-8733-5A3A6FDE0974}" dt="2025-03-25T16:45:02.534" v="41"/>
          <ac:picMkLst>
            <pc:docMk/>
            <pc:sldMk cId="226302064" sldId="2147469349"/>
            <ac:picMk id="2" creationId="{13E2EC24-AACA-51E2-C450-4D959A53B115}"/>
          </ac:picMkLst>
        </pc:picChg>
      </pc:sldChg>
      <pc:sldChg chg="addSp modSp">
        <pc:chgData name="Walecka, Iwona" userId="4149cbe0-6e59-4428-8049-4aac2a9c1584" providerId="ADAL" clId="{15B3E012-BFE1-43B7-8733-5A3A6FDE0974}" dt="2025-03-25T16:44:13.856" v="33"/>
        <pc:sldMkLst>
          <pc:docMk/>
          <pc:sldMk cId="0" sldId="2147471133"/>
        </pc:sldMkLst>
        <pc:picChg chg="add mod">
          <ac:chgData name="Walecka, Iwona" userId="4149cbe0-6e59-4428-8049-4aac2a9c1584" providerId="ADAL" clId="{15B3E012-BFE1-43B7-8733-5A3A6FDE0974}" dt="2025-03-25T16:44:13.856" v="33"/>
          <ac:picMkLst>
            <pc:docMk/>
            <pc:sldMk cId="0" sldId="2147471133"/>
            <ac:picMk id="2" creationId="{5064EF63-2EDC-A26F-FD77-988F48936E71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43:50.556" v="28"/>
        <pc:sldMkLst>
          <pc:docMk/>
          <pc:sldMk cId="0" sldId="2147471141"/>
        </pc:sldMkLst>
        <pc:spChg chg="mod">
          <ac:chgData name="Walecka, Iwona" userId="4149cbe0-6e59-4428-8049-4aac2a9c1584" providerId="ADAL" clId="{15B3E012-BFE1-43B7-8733-5A3A6FDE0974}" dt="2025-03-25T16:43:48.966" v="27" actId="14100"/>
          <ac:spMkLst>
            <pc:docMk/>
            <pc:sldMk cId="0" sldId="2147471141"/>
            <ac:spMk id="46083" creationId="{D330E65F-9BCD-99E4-4125-7CF67A12FEBD}"/>
          </ac:spMkLst>
        </pc:spChg>
        <pc:picChg chg="add mod">
          <ac:chgData name="Walecka, Iwona" userId="4149cbe0-6e59-4428-8049-4aac2a9c1584" providerId="ADAL" clId="{15B3E012-BFE1-43B7-8733-5A3A6FDE0974}" dt="2025-03-25T16:43:50.556" v="28"/>
          <ac:picMkLst>
            <pc:docMk/>
            <pc:sldMk cId="0" sldId="2147471141"/>
            <ac:picMk id="3" creationId="{F714C100-1450-5356-1203-457D628AC280}"/>
          </ac:picMkLst>
        </pc:picChg>
      </pc:sldChg>
      <pc:sldChg chg="addSp modSp mod">
        <pc:chgData name="Walecka, Iwona" userId="4149cbe0-6e59-4428-8049-4aac2a9c1584" providerId="ADAL" clId="{15B3E012-BFE1-43B7-8733-5A3A6FDE0974}" dt="2025-03-25T16:43:05.539" v="21" actId="1076"/>
        <pc:sldMkLst>
          <pc:docMk/>
          <pc:sldMk cId="4282290144" sldId="2147480525"/>
        </pc:sldMkLst>
        <pc:picChg chg="add mod">
          <ac:chgData name="Walecka, Iwona" userId="4149cbe0-6e59-4428-8049-4aac2a9c1584" providerId="ADAL" clId="{15B3E012-BFE1-43B7-8733-5A3A6FDE0974}" dt="2025-03-25T16:43:05.539" v="21" actId="1076"/>
          <ac:picMkLst>
            <pc:docMk/>
            <pc:sldMk cId="4282290144" sldId="2147480525"/>
            <ac:picMk id="2" creationId="{F7ABDE82-3F91-DBCF-7E05-0968D1965974}"/>
          </ac:picMkLst>
        </pc:picChg>
      </pc:sldChg>
      <pc:sldChg chg="addSp modSp">
        <pc:chgData name="Walecka, Iwona" userId="4149cbe0-6e59-4428-8049-4aac2a9c1584" providerId="ADAL" clId="{15B3E012-BFE1-43B7-8733-5A3A6FDE0974}" dt="2025-03-25T16:44:16.622" v="34"/>
        <pc:sldMkLst>
          <pc:docMk/>
          <pc:sldMk cId="3801573031" sldId="2147483643"/>
        </pc:sldMkLst>
        <pc:picChg chg="add mod">
          <ac:chgData name="Walecka, Iwona" userId="4149cbe0-6e59-4428-8049-4aac2a9c1584" providerId="ADAL" clId="{15B3E012-BFE1-43B7-8733-5A3A6FDE0974}" dt="2025-03-25T16:44:16.622" v="34"/>
          <ac:picMkLst>
            <pc:docMk/>
            <pc:sldMk cId="3801573031" sldId="2147483643"/>
            <ac:picMk id="2" creationId="{7EF69A51-D326-12FC-BA84-B5F511B2934C}"/>
          </ac:picMkLst>
        </pc:picChg>
      </pc:sldChg>
      <pc:sldChg chg="addSp modSp">
        <pc:chgData name="Walecka, Iwona" userId="4149cbe0-6e59-4428-8049-4aac2a9c1584" providerId="ADAL" clId="{15B3E012-BFE1-43B7-8733-5A3A6FDE0974}" dt="2025-03-25T16:44:59.780" v="40"/>
        <pc:sldMkLst>
          <pc:docMk/>
          <pc:sldMk cId="1773232389" sldId="2147483644"/>
        </pc:sldMkLst>
        <pc:picChg chg="add mod">
          <ac:chgData name="Walecka, Iwona" userId="4149cbe0-6e59-4428-8049-4aac2a9c1584" providerId="ADAL" clId="{15B3E012-BFE1-43B7-8733-5A3A6FDE0974}" dt="2025-03-25T16:44:59.780" v="40"/>
          <ac:picMkLst>
            <pc:docMk/>
            <pc:sldMk cId="1773232389" sldId="2147483644"/>
            <ac:picMk id="3" creationId="{7389A05C-6C5C-7054-8CDA-BAD6CB848C1A}"/>
          </ac:picMkLst>
        </pc:picChg>
      </pc:sldChg>
      <pc:sldChg chg="addSp modSp">
        <pc:chgData name="Walecka, Iwona" userId="4149cbe0-6e59-4428-8049-4aac2a9c1584" providerId="ADAL" clId="{15B3E012-BFE1-43B7-8733-5A3A6FDE0974}" dt="2025-03-25T16:45:10.015" v="42"/>
        <pc:sldMkLst>
          <pc:docMk/>
          <pc:sldMk cId="3295222631" sldId="2147483646"/>
        </pc:sldMkLst>
        <pc:picChg chg="add mod">
          <ac:chgData name="Walecka, Iwona" userId="4149cbe0-6e59-4428-8049-4aac2a9c1584" providerId="ADAL" clId="{15B3E012-BFE1-43B7-8733-5A3A6FDE0974}" dt="2025-03-25T16:45:10.015" v="42"/>
          <ac:picMkLst>
            <pc:docMk/>
            <pc:sldMk cId="3295222631" sldId="2147483646"/>
            <ac:picMk id="3" creationId="{830F0718-4323-E414-A09F-A7E9B9E536A7}"/>
          </ac:picMkLst>
        </pc:picChg>
      </pc:sldChg>
      <pc:sldChg chg="addSp modSp">
        <pc:chgData name="Walecka, Iwona" userId="4149cbe0-6e59-4428-8049-4aac2a9c1584" providerId="ADAL" clId="{15B3E012-BFE1-43B7-8733-5A3A6FDE0974}" dt="2025-03-25T16:44:50.522" v="39"/>
        <pc:sldMkLst>
          <pc:docMk/>
          <pc:sldMk cId="2901644267" sldId="2147483647"/>
        </pc:sldMkLst>
        <pc:picChg chg="add mod">
          <ac:chgData name="Walecka, Iwona" userId="4149cbe0-6e59-4428-8049-4aac2a9c1584" providerId="ADAL" clId="{15B3E012-BFE1-43B7-8733-5A3A6FDE0974}" dt="2025-03-25T16:44:50.522" v="39"/>
          <ac:picMkLst>
            <pc:docMk/>
            <pc:sldMk cId="2901644267" sldId="2147483647"/>
            <ac:picMk id="2" creationId="{D1A758BD-9A54-4767-26A0-190805B4E6DE}"/>
          </ac:picMkLst>
        </pc:picChg>
      </pc:sldChg>
      <pc:sldMasterChg chg="modSldLayout">
        <pc:chgData name="Walecka, Iwona" userId="4149cbe0-6e59-4428-8049-4aac2a9c1584" providerId="ADAL" clId="{15B3E012-BFE1-43B7-8733-5A3A6FDE0974}" dt="2025-03-25T16:40:35.676" v="2"/>
        <pc:sldMasterMkLst>
          <pc:docMk/>
          <pc:sldMasterMk cId="1431905692" sldId="2147483677"/>
        </pc:sldMasterMkLst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1431905692" sldId="2147483677"/>
            <pc:sldLayoutMk cId="2159973374" sldId="2147483678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1431905692" sldId="2147483677"/>
            <pc:sldLayoutMk cId="2544936630" sldId="2147483679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1431905692" sldId="2147483677"/>
            <pc:sldLayoutMk cId="1376827273" sldId="2147483690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1431905692" sldId="2147483677"/>
            <pc:sldLayoutMk cId="1646765742" sldId="2147483693"/>
          </pc:sldLayoutMkLst>
        </pc:sldLayoutChg>
      </pc:sldMasterChg>
      <pc:sldMasterChg chg="modSldLayout">
        <pc:chgData name="Walecka, Iwona" userId="4149cbe0-6e59-4428-8049-4aac2a9c1584" providerId="ADAL" clId="{15B3E012-BFE1-43B7-8733-5A3A6FDE0974}" dt="2025-03-25T16:40:35.676" v="2"/>
        <pc:sldMasterMkLst>
          <pc:docMk/>
          <pc:sldMasterMk cId="3813564844" sldId="2147483694"/>
        </pc:sldMasterMkLst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3813564844" sldId="2147483694"/>
            <pc:sldLayoutMk cId="3648014345" sldId="2147483695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3813564844" sldId="2147483694"/>
            <pc:sldLayoutMk cId="2262600779" sldId="2147483696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3813564844" sldId="2147483694"/>
            <pc:sldLayoutMk cId="2041949181" sldId="2147483707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3813564844" sldId="2147483694"/>
            <pc:sldLayoutMk cId="2280291970" sldId="2147483709"/>
          </pc:sldLayoutMkLst>
        </pc:sldLayoutChg>
        <pc:sldLayoutChg chg="setBg">
          <pc:chgData name="Walecka, Iwona" userId="4149cbe0-6e59-4428-8049-4aac2a9c1584" providerId="ADAL" clId="{15B3E012-BFE1-43B7-8733-5A3A6FDE0974}" dt="2025-03-25T16:40:35.676" v="2"/>
          <pc:sldLayoutMkLst>
            <pc:docMk/>
            <pc:sldMasterMk cId="3813564844" sldId="2147483694"/>
            <pc:sldLayoutMk cId="857831804" sldId="214748371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Book6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248766574632865E-2"/>
          <c:y val="0.13461657730191753"/>
          <c:w val="0.97550246685073427"/>
          <c:h val="0.767910330790525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8EC-4868-9E6F-86489185290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N=</a:t>
                    </a:r>
                    <a:fld id="{D81594FE-6E7A-4DEC-9D2A-86B26809135B}" type="VALUE">
                      <a:rPr lang="en-US" smtClean="0"/>
                      <a:pPr/>
                      <a:t>[WARTOŚĆ]</a:t>
                    </a:fld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8EC-4868-9E6F-86489185290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N=6,009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E8EC-4868-9E6F-86489185290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N=</a:t>
                    </a:r>
                    <a:fld id="{18642172-1AC1-44A8-B471-5CB11A169E33}" type="VALUE">
                      <a:rPr lang="en-US" smtClean="0"/>
                      <a:pPr/>
                      <a:t>[WARTOŚĆ]</a:t>
                    </a:fld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E8EC-4868-9E6F-86489185290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N=</a:t>
                    </a:r>
                    <a:fld id="{94063BFF-DF9F-45B4-BFFF-F00C936D900A}" type="VALUE">
                      <a:rPr lang="en-US" smtClean="0"/>
                      <a:pPr/>
                      <a:t>[WARTOŚĆ]</a:t>
                    </a:fld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8EC-4868-9E6F-86489185290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800" b="1" i="0" u="none" strike="noStrike" kern="1200" baseline="0" dirty="0">
                        <a:solidFill>
                          <a:srgbClr val="000000"/>
                        </a:solidFill>
                      </a:rPr>
                      <a:t>N=</a:t>
                    </a:r>
                    <a:fld id="{776D7A2C-8BB1-4803-B4C6-1C60849F28B1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 dirty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8EC-4868-9E6F-86489185290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800" b="1" i="0" u="none" strike="noStrike" kern="1200" baseline="0" dirty="0">
                        <a:solidFill>
                          <a:srgbClr val="000000"/>
                        </a:solidFill>
                      </a:rPr>
                      <a:t>N=</a:t>
                    </a:r>
                    <a:fld id="{6A77BF4D-6663-4AFD-844A-035373E56491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 dirty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8EC-4868-9E6F-86489185290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z="1800" b="1" i="0" u="none" strike="noStrike" kern="1200" baseline="0" dirty="0">
                        <a:solidFill>
                          <a:srgbClr val="000000"/>
                        </a:solidFill>
                      </a:rPr>
                      <a:t>N=</a:t>
                    </a:r>
                    <a:fld id="{632649E6-88D1-4518-99C8-591F6B8CCDE2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 dirty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8EC-4868-9E6F-86489185290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z="1800" b="1" i="0" u="none" strike="noStrike" kern="1200" baseline="0" dirty="0">
                        <a:solidFill>
                          <a:srgbClr val="000000"/>
                        </a:solidFill>
                      </a:rPr>
                      <a:t>N=</a:t>
                    </a:r>
                    <a:fld id="{2AC2D0ED-1A1E-404F-B065-990DD44C7638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 dirty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8EC-4868-9E6F-86489185290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COS</c:v>
                </c:pt>
                <c:pt idx="1">
                  <c:v>PATRO Children</c:v>
                </c:pt>
                <c:pt idx="2">
                  <c:v>Nordinet IOS</c:v>
                </c:pt>
                <c:pt idx="3">
                  <c:v>ANSWER</c:v>
                </c:pt>
                <c:pt idx="4">
                  <c:v>GeNeSIS</c:v>
                </c:pt>
                <c:pt idx="5">
                  <c:v>SAGhE</c:v>
                </c:pt>
                <c:pt idx="6">
                  <c:v>NCGS</c:v>
                </c:pt>
                <c:pt idx="7">
                  <c:v>KIGS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420</c:v>
                </c:pt>
                <c:pt idx="1">
                  <c:v>6009</c:v>
                </c:pt>
                <c:pt idx="2">
                  <c:v>17995</c:v>
                </c:pt>
                <c:pt idx="3">
                  <c:v>20204</c:v>
                </c:pt>
                <c:pt idx="4">
                  <c:v>22845</c:v>
                </c:pt>
                <c:pt idx="5">
                  <c:v>24232</c:v>
                </c:pt>
                <c:pt idx="6">
                  <c:v>65205</c:v>
                </c:pt>
                <c:pt idx="7">
                  <c:v>83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EC-4868-9E6F-86489185290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2"/>
        <c:overlap val="-36"/>
        <c:axId val="2105002175"/>
        <c:axId val="1051197551"/>
      </c:barChart>
      <c:catAx>
        <c:axId val="210500217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1197551"/>
        <c:crosses val="autoZero"/>
        <c:auto val="1"/>
        <c:lblAlgn val="ctr"/>
        <c:lblOffset val="100"/>
        <c:noMultiLvlLbl val="0"/>
      </c:catAx>
      <c:valAx>
        <c:axId val="105119755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050021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square"/>
            <c:size val="12"/>
            <c:spPr>
              <a:solidFill>
                <a:srgbClr val="6E7DC8"/>
              </a:solidFill>
              <a:ln w="9525">
                <a:noFill/>
              </a:ln>
              <a:effectLst/>
            </c:spPr>
          </c:marker>
          <c:dPt>
            <c:idx val="0"/>
            <c:marker>
              <c:spPr>
                <a:solidFill>
                  <a:srgbClr val="0095FF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14F-7048-A12D-F28748EFB632}"/>
              </c:ext>
            </c:extLst>
          </c:dPt>
          <c:xVal>
            <c:numRef>
              <c:f>[1]Sheet1!$L$19</c:f>
              <c:numCache>
                <c:formatCode>General</c:formatCode>
                <c:ptCount val="1"/>
                <c:pt idx="0">
                  <c:v>0.33</c:v>
                </c:pt>
              </c:numCache>
            </c:numRef>
          </c:xVal>
          <c:yVal>
            <c:numRef>
              <c:f>[1]Sheet1!$M$19</c:f>
              <c:numCache>
                <c:formatCode>General</c:formatCode>
                <c:ptCount val="1"/>
                <c:pt idx="0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CEE-2C43-AE4B-03018D1FC39C}"/>
            </c:ext>
          </c:extLst>
        </c:ser>
        <c:ser>
          <c:idx val="1"/>
          <c:order val="1"/>
          <c:spPr>
            <a:ln w="28575" cap="rnd">
              <a:noFill/>
              <a:prstDash val="sysDash"/>
              <a:round/>
            </a:ln>
            <a:effectLst/>
          </c:spPr>
          <c:marker>
            <c:symbol val="none"/>
          </c:marker>
          <c:xVal>
            <c:numRef>
              <c:f>[1]Sheet1!$M$25:$M$26</c:f>
              <c:numCache>
                <c:formatCode>General</c:formatCode>
                <c:ptCount val="2"/>
                <c:pt idx="0">
                  <c:v>-1.8</c:v>
                </c:pt>
                <c:pt idx="1">
                  <c:v>-1.8</c:v>
                </c:pt>
              </c:numCache>
            </c:numRef>
          </c:xVal>
          <c:yVal>
            <c:numRef>
              <c:f>[1]Sheet1!$N$25:$N$26</c:f>
              <c:numCache>
                <c:formatCode>General</c:formatCode>
                <c:ptCount val="2"/>
                <c:pt idx="0">
                  <c:v>0</c:v>
                </c:pt>
                <c:pt idx="1">
                  <c:v>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CEE-2C43-AE4B-03018D1FC3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8957824"/>
        <c:axId val="149269888"/>
      </c:scatterChart>
      <c:valAx>
        <c:axId val="148957824"/>
        <c:scaling>
          <c:orientation val="minMax"/>
          <c:max val="2"/>
          <c:min val="-2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3434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269888"/>
        <c:crosses val="autoZero"/>
        <c:crossBetween val="midCat"/>
      </c:valAx>
      <c:valAx>
        <c:axId val="149269888"/>
        <c:scaling>
          <c:orientation val="minMax"/>
          <c:max val="1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3434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9578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C16798-2960-49F6-AA9D-1A9F68FE9F1E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CAA5278-A6B7-469F-8014-981A9E5CD4A7}">
      <dgm:prSet/>
      <dgm:spPr/>
      <dgm:t>
        <a:bodyPr/>
        <a:lstStyle/>
        <a:p>
          <a:r>
            <a:rPr lang="pl-PL"/>
            <a:t>obciążenie codziennymi zastrzykami, </a:t>
          </a:r>
          <a:endParaRPr lang="en-US"/>
        </a:p>
      </dgm:t>
    </dgm:pt>
    <dgm:pt modelId="{165D6771-278D-4344-ABAB-2369269F8D42}" type="parTrans" cxnId="{83C3483D-35FE-457C-B5D9-61B5D4259BF1}">
      <dgm:prSet/>
      <dgm:spPr/>
      <dgm:t>
        <a:bodyPr/>
        <a:lstStyle/>
        <a:p>
          <a:endParaRPr lang="en-US"/>
        </a:p>
      </dgm:t>
    </dgm:pt>
    <dgm:pt modelId="{6D81A01F-9603-47BF-A837-155997B287A2}" type="sibTrans" cxnId="{83C3483D-35FE-457C-B5D9-61B5D4259BF1}">
      <dgm:prSet/>
      <dgm:spPr/>
      <dgm:t>
        <a:bodyPr/>
        <a:lstStyle/>
        <a:p>
          <a:endParaRPr lang="en-US"/>
        </a:p>
      </dgm:t>
    </dgm:pt>
    <dgm:pt modelId="{AB4C0989-5898-4359-8996-12AFB5000351}">
      <dgm:prSet/>
      <dgm:spPr/>
      <dgm:t>
        <a:bodyPr/>
        <a:lstStyle/>
        <a:p>
          <a:r>
            <a:rPr lang="pl-PL" dirty="0"/>
            <a:t>ból wywołany zastrzykami</a:t>
          </a:r>
          <a:endParaRPr lang="en-US" dirty="0"/>
        </a:p>
      </dgm:t>
    </dgm:pt>
    <dgm:pt modelId="{0BEDF33E-041B-421F-BC6E-AE442ABEF127}" type="parTrans" cxnId="{E85B37CD-DF7B-4436-9506-96794D3405F6}">
      <dgm:prSet/>
      <dgm:spPr/>
      <dgm:t>
        <a:bodyPr/>
        <a:lstStyle/>
        <a:p>
          <a:endParaRPr lang="en-US"/>
        </a:p>
      </dgm:t>
    </dgm:pt>
    <dgm:pt modelId="{883C39F0-978E-4065-BB15-98E5A78C8689}" type="sibTrans" cxnId="{E85B37CD-DF7B-4436-9506-96794D3405F6}">
      <dgm:prSet/>
      <dgm:spPr/>
      <dgm:t>
        <a:bodyPr/>
        <a:lstStyle/>
        <a:p>
          <a:endParaRPr lang="en-US"/>
        </a:p>
      </dgm:t>
    </dgm:pt>
    <dgm:pt modelId="{04A76E07-44F1-47AB-BEB8-5B8D8A40BCAA}">
      <dgm:prSet/>
      <dgm:spPr/>
      <dgm:t>
        <a:bodyPr/>
        <a:lstStyle/>
        <a:p>
          <a:r>
            <a:rPr lang="pl-PL" dirty="0"/>
            <a:t>fobia przed igłą czy ukłuciem</a:t>
          </a:r>
          <a:endParaRPr lang="en-US" dirty="0"/>
        </a:p>
      </dgm:t>
    </dgm:pt>
    <dgm:pt modelId="{C498AB23-14A0-4F32-91DE-61DBEA47651E}" type="parTrans" cxnId="{39DD9FDE-F2BE-4287-845F-7AFD3DA9705D}">
      <dgm:prSet/>
      <dgm:spPr/>
      <dgm:t>
        <a:bodyPr/>
        <a:lstStyle/>
        <a:p>
          <a:endParaRPr lang="en-US"/>
        </a:p>
      </dgm:t>
    </dgm:pt>
    <dgm:pt modelId="{73AE6461-3CA6-43E8-88E2-8C064AAF8B23}" type="sibTrans" cxnId="{39DD9FDE-F2BE-4287-845F-7AFD3DA9705D}">
      <dgm:prSet/>
      <dgm:spPr/>
      <dgm:t>
        <a:bodyPr/>
        <a:lstStyle/>
        <a:p>
          <a:endParaRPr lang="en-US"/>
        </a:p>
      </dgm:t>
    </dgm:pt>
    <dgm:pt modelId="{E1004DD6-A1A2-4A81-986D-1133AF18912A}">
      <dgm:prSet/>
      <dgm:spPr/>
      <dgm:t>
        <a:bodyPr/>
        <a:lstStyle/>
        <a:p>
          <a:r>
            <a:rPr lang="pl-PL" dirty="0"/>
            <a:t>problemy z podróżowaniem</a:t>
          </a:r>
          <a:endParaRPr lang="en-US" dirty="0"/>
        </a:p>
      </dgm:t>
    </dgm:pt>
    <dgm:pt modelId="{66BAC7FD-3DBC-42B9-8780-78FE8C79E9A5}" type="parTrans" cxnId="{1E9942FB-17B9-4DDF-AC3B-8659DD73F0FB}">
      <dgm:prSet/>
      <dgm:spPr/>
      <dgm:t>
        <a:bodyPr/>
        <a:lstStyle/>
        <a:p>
          <a:endParaRPr lang="en-US"/>
        </a:p>
      </dgm:t>
    </dgm:pt>
    <dgm:pt modelId="{F83ADBFF-C8F7-454F-A424-DC618F3876B0}" type="sibTrans" cxnId="{1E9942FB-17B9-4DDF-AC3B-8659DD73F0FB}">
      <dgm:prSet/>
      <dgm:spPr/>
      <dgm:t>
        <a:bodyPr/>
        <a:lstStyle/>
        <a:p>
          <a:endParaRPr lang="en-US"/>
        </a:p>
      </dgm:t>
    </dgm:pt>
    <dgm:pt modelId="{22495641-7A9F-4810-BF96-2388EEBCA997}">
      <dgm:prSet/>
      <dgm:spPr/>
      <dgm:t>
        <a:bodyPr/>
        <a:lstStyle/>
        <a:p>
          <a:r>
            <a:rPr lang="pl-PL" dirty="0"/>
            <a:t>brak edukacji na temat korzyści płynących z leczenia (dzieci i rodzice)</a:t>
          </a:r>
          <a:endParaRPr lang="en-US" dirty="0"/>
        </a:p>
      </dgm:t>
    </dgm:pt>
    <dgm:pt modelId="{29A6761E-9D6C-486D-9DC2-DF1AC0556A89}" type="parTrans" cxnId="{9967074D-A79C-4199-9125-77F9E81168B3}">
      <dgm:prSet/>
      <dgm:spPr/>
      <dgm:t>
        <a:bodyPr/>
        <a:lstStyle/>
        <a:p>
          <a:endParaRPr lang="en-US"/>
        </a:p>
      </dgm:t>
    </dgm:pt>
    <dgm:pt modelId="{805AAC0C-D183-4189-AB0F-1B987CB03A66}" type="sibTrans" cxnId="{9967074D-A79C-4199-9125-77F9E81168B3}">
      <dgm:prSet/>
      <dgm:spPr/>
      <dgm:t>
        <a:bodyPr/>
        <a:lstStyle/>
        <a:p>
          <a:endParaRPr lang="en-US"/>
        </a:p>
      </dgm:t>
    </dgm:pt>
    <dgm:pt modelId="{DE5BD275-86FA-44B2-9136-636A5425D662}">
      <dgm:prSet/>
      <dgm:spPr/>
      <dgm:t>
        <a:bodyPr/>
        <a:lstStyle/>
        <a:p>
          <a:r>
            <a:rPr lang="pl-PL" dirty="0"/>
            <a:t>„</a:t>
          </a:r>
          <a:r>
            <a:rPr lang="pl-PL" b="1" dirty="0"/>
            <a:t>zmęczenie iniekcyjne</a:t>
          </a:r>
          <a:r>
            <a:rPr lang="pl-PL" dirty="0"/>
            <a:t>” – leczenie trwa zazwyczaj wiele lat</a:t>
          </a:r>
          <a:endParaRPr lang="en-US" dirty="0"/>
        </a:p>
      </dgm:t>
    </dgm:pt>
    <dgm:pt modelId="{28A9B473-ECD5-40CC-A599-CA29FA60118B}" type="parTrans" cxnId="{38982CA3-B8AA-4A8A-B41F-C4AE45DB4F77}">
      <dgm:prSet/>
      <dgm:spPr/>
      <dgm:t>
        <a:bodyPr/>
        <a:lstStyle/>
        <a:p>
          <a:endParaRPr lang="en-US"/>
        </a:p>
      </dgm:t>
    </dgm:pt>
    <dgm:pt modelId="{05821AA8-34C8-4018-A0CC-9D4DAEC1B152}" type="sibTrans" cxnId="{38982CA3-B8AA-4A8A-B41F-C4AE45DB4F77}">
      <dgm:prSet/>
      <dgm:spPr/>
      <dgm:t>
        <a:bodyPr/>
        <a:lstStyle/>
        <a:p>
          <a:endParaRPr lang="en-US"/>
        </a:p>
      </dgm:t>
    </dgm:pt>
    <dgm:pt modelId="{FCE0055C-D41E-45B7-BDB8-9E0798A46113}">
      <dgm:prSet/>
      <dgm:spPr/>
      <dgm:t>
        <a:bodyPr/>
        <a:lstStyle/>
        <a:p>
          <a:r>
            <a:rPr lang="pl-PL"/>
            <a:t>problemy związane z przechowywaniem leku </a:t>
          </a:r>
          <a:endParaRPr lang="en-US" dirty="0"/>
        </a:p>
      </dgm:t>
    </dgm:pt>
    <dgm:pt modelId="{D7684C11-6A85-40E2-BF4F-A50E2289E93E}" type="parTrans" cxnId="{577BBBB5-0EF3-48D0-B681-55D779F9810C}">
      <dgm:prSet/>
      <dgm:spPr/>
      <dgm:t>
        <a:bodyPr/>
        <a:lstStyle/>
        <a:p>
          <a:endParaRPr lang="en-US"/>
        </a:p>
      </dgm:t>
    </dgm:pt>
    <dgm:pt modelId="{AFACBA15-34CC-4452-8870-937DA5CCE294}" type="sibTrans" cxnId="{577BBBB5-0EF3-48D0-B681-55D779F9810C}">
      <dgm:prSet/>
      <dgm:spPr/>
      <dgm:t>
        <a:bodyPr/>
        <a:lstStyle/>
        <a:p>
          <a:endParaRPr lang="en-US"/>
        </a:p>
      </dgm:t>
    </dgm:pt>
    <dgm:pt modelId="{462758D8-5E50-4F09-8370-226CCF736131}" type="pres">
      <dgm:prSet presAssocID="{AFC16798-2960-49F6-AA9D-1A9F68FE9F1E}" presName="diagram" presStyleCnt="0">
        <dgm:presLayoutVars>
          <dgm:dir/>
          <dgm:resizeHandles val="exact"/>
        </dgm:presLayoutVars>
      </dgm:prSet>
      <dgm:spPr/>
    </dgm:pt>
    <dgm:pt modelId="{16382E10-0B36-4FCF-AC99-8CBDA0C56C96}" type="pres">
      <dgm:prSet presAssocID="{DCAA5278-A6B7-469F-8014-981A9E5CD4A7}" presName="node" presStyleLbl="node1" presStyleIdx="0" presStyleCnt="7">
        <dgm:presLayoutVars>
          <dgm:bulletEnabled val="1"/>
        </dgm:presLayoutVars>
      </dgm:prSet>
      <dgm:spPr/>
    </dgm:pt>
    <dgm:pt modelId="{08C8D7F7-5F22-4080-97AB-5DFCA6BED8FC}" type="pres">
      <dgm:prSet presAssocID="{6D81A01F-9603-47BF-A837-155997B287A2}" presName="sibTrans" presStyleCnt="0"/>
      <dgm:spPr/>
    </dgm:pt>
    <dgm:pt modelId="{7F9F3694-5626-4642-8250-350F7817236F}" type="pres">
      <dgm:prSet presAssocID="{AB4C0989-5898-4359-8996-12AFB5000351}" presName="node" presStyleLbl="node1" presStyleIdx="1" presStyleCnt="7">
        <dgm:presLayoutVars>
          <dgm:bulletEnabled val="1"/>
        </dgm:presLayoutVars>
      </dgm:prSet>
      <dgm:spPr/>
    </dgm:pt>
    <dgm:pt modelId="{D6E1412D-8A08-4726-9E25-B251BF27A23E}" type="pres">
      <dgm:prSet presAssocID="{883C39F0-978E-4065-BB15-98E5A78C8689}" presName="sibTrans" presStyleCnt="0"/>
      <dgm:spPr/>
    </dgm:pt>
    <dgm:pt modelId="{D02F3111-7538-4030-81D3-8068B2162534}" type="pres">
      <dgm:prSet presAssocID="{04A76E07-44F1-47AB-BEB8-5B8D8A40BCAA}" presName="node" presStyleLbl="node1" presStyleIdx="2" presStyleCnt="7">
        <dgm:presLayoutVars>
          <dgm:bulletEnabled val="1"/>
        </dgm:presLayoutVars>
      </dgm:prSet>
      <dgm:spPr/>
    </dgm:pt>
    <dgm:pt modelId="{60BFB1E6-E411-47D0-BE47-608D53BC2A46}" type="pres">
      <dgm:prSet presAssocID="{73AE6461-3CA6-43E8-88E2-8C064AAF8B23}" presName="sibTrans" presStyleCnt="0"/>
      <dgm:spPr/>
    </dgm:pt>
    <dgm:pt modelId="{C8C34213-0FB8-4795-B674-C91D238B8DE5}" type="pres">
      <dgm:prSet presAssocID="{E1004DD6-A1A2-4A81-986D-1133AF18912A}" presName="node" presStyleLbl="node1" presStyleIdx="3" presStyleCnt="7">
        <dgm:presLayoutVars>
          <dgm:bulletEnabled val="1"/>
        </dgm:presLayoutVars>
      </dgm:prSet>
      <dgm:spPr/>
    </dgm:pt>
    <dgm:pt modelId="{EAEC912B-306D-42BF-A9EB-31DCB7E64CE2}" type="pres">
      <dgm:prSet presAssocID="{F83ADBFF-C8F7-454F-A424-DC618F3876B0}" presName="sibTrans" presStyleCnt="0"/>
      <dgm:spPr/>
    </dgm:pt>
    <dgm:pt modelId="{00168ACE-B1C0-4474-A835-34666E163B2D}" type="pres">
      <dgm:prSet presAssocID="{FCE0055C-D41E-45B7-BDB8-9E0798A46113}" presName="node" presStyleLbl="node1" presStyleIdx="4" presStyleCnt="7">
        <dgm:presLayoutVars>
          <dgm:bulletEnabled val="1"/>
        </dgm:presLayoutVars>
      </dgm:prSet>
      <dgm:spPr/>
    </dgm:pt>
    <dgm:pt modelId="{70068042-9F19-48B0-9B4F-3704B2B4692F}" type="pres">
      <dgm:prSet presAssocID="{AFACBA15-34CC-4452-8870-937DA5CCE294}" presName="sibTrans" presStyleCnt="0"/>
      <dgm:spPr/>
    </dgm:pt>
    <dgm:pt modelId="{C5992B11-99BD-4674-B491-B4D2AAA97B37}" type="pres">
      <dgm:prSet presAssocID="{22495641-7A9F-4810-BF96-2388EEBCA997}" presName="node" presStyleLbl="node1" presStyleIdx="5" presStyleCnt="7">
        <dgm:presLayoutVars>
          <dgm:bulletEnabled val="1"/>
        </dgm:presLayoutVars>
      </dgm:prSet>
      <dgm:spPr/>
    </dgm:pt>
    <dgm:pt modelId="{215BD75D-3834-4D72-AC17-4E342A8DBE23}" type="pres">
      <dgm:prSet presAssocID="{805AAC0C-D183-4189-AB0F-1B987CB03A66}" presName="sibTrans" presStyleCnt="0"/>
      <dgm:spPr/>
    </dgm:pt>
    <dgm:pt modelId="{FE0E24A8-6537-4CE9-B901-AFAECAC4BECB}" type="pres">
      <dgm:prSet presAssocID="{DE5BD275-86FA-44B2-9136-636A5425D662}" presName="node" presStyleLbl="node1" presStyleIdx="6" presStyleCnt="7">
        <dgm:presLayoutVars>
          <dgm:bulletEnabled val="1"/>
        </dgm:presLayoutVars>
      </dgm:prSet>
      <dgm:spPr/>
    </dgm:pt>
  </dgm:ptLst>
  <dgm:cxnLst>
    <dgm:cxn modelId="{9D504002-A9EA-442B-80FD-B7EE6965494F}" type="presOf" srcId="{AB4C0989-5898-4359-8996-12AFB5000351}" destId="{7F9F3694-5626-4642-8250-350F7817236F}" srcOrd="0" destOrd="0" presId="urn:microsoft.com/office/officeart/2005/8/layout/default"/>
    <dgm:cxn modelId="{0871253A-A386-4E24-9F65-9735F1D2E58B}" type="presOf" srcId="{22495641-7A9F-4810-BF96-2388EEBCA997}" destId="{C5992B11-99BD-4674-B491-B4D2AAA97B37}" srcOrd="0" destOrd="0" presId="urn:microsoft.com/office/officeart/2005/8/layout/default"/>
    <dgm:cxn modelId="{2219D53A-754B-44F3-9869-1B02D5311563}" type="presOf" srcId="{DE5BD275-86FA-44B2-9136-636A5425D662}" destId="{FE0E24A8-6537-4CE9-B901-AFAECAC4BECB}" srcOrd="0" destOrd="0" presId="urn:microsoft.com/office/officeart/2005/8/layout/default"/>
    <dgm:cxn modelId="{83C3483D-35FE-457C-B5D9-61B5D4259BF1}" srcId="{AFC16798-2960-49F6-AA9D-1A9F68FE9F1E}" destId="{DCAA5278-A6B7-469F-8014-981A9E5CD4A7}" srcOrd="0" destOrd="0" parTransId="{165D6771-278D-4344-ABAB-2369269F8D42}" sibTransId="{6D81A01F-9603-47BF-A837-155997B287A2}"/>
    <dgm:cxn modelId="{F8B1E95D-3338-4DFF-8AB4-7FCC759AFC0C}" type="presOf" srcId="{E1004DD6-A1A2-4A81-986D-1133AF18912A}" destId="{C8C34213-0FB8-4795-B674-C91D238B8DE5}" srcOrd="0" destOrd="0" presId="urn:microsoft.com/office/officeart/2005/8/layout/default"/>
    <dgm:cxn modelId="{9967074D-A79C-4199-9125-77F9E81168B3}" srcId="{AFC16798-2960-49F6-AA9D-1A9F68FE9F1E}" destId="{22495641-7A9F-4810-BF96-2388EEBCA997}" srcOrd="5" destOrd="0" parTransId="{29A6761E-9D6C-486D-9DC2-DF1AC0556A89}" sibTransId="{805AAC0C-D183-4189-AB0F-1B987CB03A66}"/>
    <dgm:cxn modelId="{75AED388-8764-4D8C-9538-3029DCF5387F}" type="presOf" srcId="{FCE0055C-D41E-45B7-BDB8-9E0798A46113}" destId="{00168ACE-B1C0-4474-A835-34666E163B2D}" srcOrd="0" destOrd="0" presId="urn:microsoft.com/office/officeart/2005/8/layout/default"/>
    <dgm:cxn modelId="{1D601598-51CE-4CB7-A061-AC3CD263D058}" type="presOf" srcId="{DCAA5278-A6B7-469F-8014-981A9E5CD4A7}" destId="{16382E10-0B36-4FCF-AC99-8CBDA0C56C96}" srcOrd="0" destOrd="0" presId="urn:microsoft.com/office/officeart/2005/8/layout/default"/>
    <dgm:cxn modelId="{38982CA3-B8AA-4A8A-B41F-C4AE45DB4F77}" srcId="{AFC16798-2960-49F6-AA9D-1A9F68FE9F1E}" destId="{DE5BD275-86FA-44B2-9136-636A5425D662}" srcOrd="6" destOrd="0" parTransId="{28A9B473-ECD5-40CC-A599-CA29FA60118B}" sibTransId="{05821AA8-34C8-4018-A0CC-9D4DAEC1B152}"/>
    <dgm:cxn modelId="{ACE4B5A7-E534-42A9-8122-38FD58531821}" type="presOf" srcId="{04A76E07-44F1-47AB-BEB8-5B8D8A40BCAA}" destId="{D02F3111-7538-4030-81D3-8068B2162534}" srcOrd="0" destOrd="0" presId="urn:microsoft.com/office/officeart/2005/8/layout/default"/>
    <dgm:cxn modelId="{577BBBB5-0EF3-48D0-B681-55D779F9810C}" srcId="{AFC16798-2960-49F6-AA9D-1A9F68FE9F1E}" destId="{FCE0055C-D41E-45B7-BDB8-9E0798A46113}" srcOrd="4" destOrd="0" parTransId="{D7684C11-6A85-40E2-BF4F-A50E2289E93E}" sibTransId="{AFACBA15-34CC-4452-8870-937DA5CCE294}"/>
    <dgm:cxn modelId="{E85B37CD-DF7B-4436-9506-96794D3405F6}" srcId="{AFC16798-2960-49F6-AA9D-1A9F68FE9F1E}" destId="{AB4C0989-5898-4359-8996-12AFB5000351}" srcOrd="1" destOrd="0" parTransId="{0BEDF33E-041B-421F-BC6E-AE442ABEF127}" sibTransId="{883C39F0-978E-4065-BB15-98E5A78C8689}"/>
    <dgm:cxn modelId="{39DD9FDE-F2BE-4287-845F-7AFD3DA9705D}" srcId="{AFC16798-2960-49F6-AA9D-1A9F68FE9F1E}" destId="{04A76E07-44F1-47AB-BEB8-5B8D8A40BCAA}" srcOrd="2" destOrd="0" parTransId="{C498AB23-14A0-4F32-91DE-61DBEA47651E}" sibTransId="{73AE6461-3CA6-43E8-88E2-8C064AAF8B23}"/>
    <dgm:cxn modelId="{5D6603E0-2BEB-43B9-BFE5-3C4ACA5B1906}" type="presOf" srcId="{AFC16798-2960-49F6-AA9D-1A9F68FE9F1E}" destId="{462758D8-5E50-4F09-8370-226CCF736131}" srcOrd="0" destOrd="0" presId="urn:microsoft.com/office/officeart/2005/8/layout/default"/>
    <dgm:cxn modelId="{1E9942FB-17B9-4DDF-AC3B-8659DD73F0FB}" srcId="{AFC16798-2960-49F6-AA9D-1A9F68FE9F1E}" destId="{E1004DD6-A1A2-4A81-986D-1133AF18912A}" srcOrd="3" destOrd="0" parTransId="{66BAC7FD-3DBC-42B9-8780-78FE8C79E9A5}" sibTransId="{F83ADBFF-C8F7-454F-A424-DC618F3876B0}"/>
    <dgm:cxn modelId="{12EB70E8-812E-4474-B129-4D1608F876AF}" type="presParOf" srcId="{462758D8-5E50-4F09-8370-226CCF736131}" destId="{16382E10-0B36-4FCF-AC99-8CBDA0C56C96}" srcOrd="0" destOrd="0" presId="urn:microsoft.com/office/officeart/2005/8/layout/default"/>
    <dgm:cxn modelId="{6822FF52-FCA8-41C2-9D04-AC4E2000F2A4}" type="presParOf" srcId="{462758D8-5E50-4F09-8370-226CCF736131}" destId="{08C8D7F7-5F22-4080-97AB-5DFCA6BED8FC}" srcOrd="1" destOrd="0" presId="urn:microsoft.com/office/officeart/2005/8/layout/default"/>
    <dgm:cxn modelId="{54E38B7F-D55A-49B1-9472-F10F8C5268A9}" type="presParOf" srcId="{462758D8-5E50-4F09-8370-226CCF736131}" destId="{7F9F3694-5626-4642-8250-350F7817236F}" srcOrd="2" destOrd="0" presId="urn:microsoft.com/office/officeart/2005/8/layout/default"/>
    <dgm:cxn modelId="{3E03803F-46EE-46C5-8ED3-FDB5F6F1090A}" type="presParOf" srcId="{462758D8-5E50-4F09-8370-226CCF736131}" destId="{D6E1412D-8A08-4726-9E25-B251BF27A23E}" srcOrd="3" destOrd="0" presId="urn:microsoft.com/office/officeart/2005/8/layout/default"/>
    <dgm:cxn modelId="{CAFD139A-05D7-4041-899D-2F791CC54B10}" type="presParOf" srcId="{462758D8-5E50-4F09-8370-226CCF736131}" destId="{D02F3111-7538-4030-81D3-8068B2162534}" srcOrd="4" destOrd="0" presId="urn:microsoft.com/office/officeart/2005/8/layout/default"/>
    <dgm:cxn modelId="{6D332D63-941C-40A2-A670-EA8422202EAD}" type="presParOf" srcId="{462758D8-5E50-4F09-8370-226CCF736131}" destId="{60BFB1E6-E411-47D0-BE47-608D53BC2A46}" srcOrd="5" destOrd="0" presId="urn:microsoft.com/office/officeart/2005/8/layout/default"/>
    <dgm:cxn modelId="{07CC8A1E-F2EA-4B7A-9FAE-157638CA0914}" type="presParOf" srcId="{462758D8-5E50-4F09-8370-226CCF736131}" destId="{C8C34213-0FB8-4795-B674-C91D238B8DE5}" srcOrd="6" destOrd="0" presId="urn:microsoft.com/office/officeart/2005/8/layout/default"/>
    <dgm:cxn modelId="{7985635E-050F-4A2B-9BF3-12C7C9A024D7}" type="presParOf" srcId="{462758D8-5E50-4F09-8370-226CCF736131}" destId="{EAEC912B-306D-42BF-A9EB-31DCB7E64CE2}" srcOrd="7" destOrd="0" presId="urn:microsoft.com/office/officeart/2005/8/layout/default"/>
    <dgm:cxn modelId="{BAC0C527-181D-426F-A767-32EF7C465683}" type="presParOf" srcId="{462758D8-5E50-4F09-8370-226CCF736131}" destId="{00168ACE-B1C0-4474-A835-34666E163B2D}" srcOrd="8" destOrd="0" presId="urn:microsoft.com/office/officeart/2005/8/layout/default"/>
    <dgm:cxn modelId="{454DAE1A-0F14-45B2-9D34-021D5154FD0D}" type="presParOf" srcId="{462758D8-5E50-4F09-8370-226CCF736131}" destId="{70068042-9F19-48B0-9B4F-3704B2B4692F}" srcOrd="9" destOrd="0" presId="urn:microsoft.com/office/officeart/2005/8/layout/default"/>
    <dgm:cxn modelId="{200EED61-B571-4877-8CA9-FBA4B19800A3}" type="presParOf" srcId="{462758D8-5E50-4F09-8370-226CCF736131}" destId="{C5992B11-99BD-4674-B491-B4D2AAA97B37}" srcOrd="10" destOrd="0" presId="urn:microsoft.com/office/officeart/2005/8/layout/default"/>
    <dgm:cxn modelId="{A38C92F8-EDE2-4AA6-9205-EE73AD6DCF2D}" type="presParOf" srcId="{462758D8-5E50-4F09-8370-226CCF736131}" destId="{215BD75D-3834-4D72-AC17-4E342A8DBE23}" srcOrd="11" destOrd="0" presId="urn:microsoft.com/office/officeart/2005/8/layout/default"/>
    <dgm:cxn modelId="{3FF693C2-5FFB-40CD-9226-8E9E2E106BB4}" type="presParOf" srcId="{462758D8-5E50-4F09-8370-226CCF736131}" destId="{FE0E24A8-6537-4CE9-B901-AFAECAC4BECB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382E10-0B36-4FCF-AC99-8CBDA0C56C96}">
      <dsp:nvSpPr>
        <dsp:cNvPr id="0" name=""/>
        <dsp:cNvSpPr/>
      </dsp:nvSpPr>
      <dsp:spPr>
        <a:xfrm>
          <a:off x="50723" y="10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/>
            <a:t>obciążenie codziennymi zastrzykami, </a:t>
          </a:r>
          <a:endParaRPr lang="en-US" sz="2100" kern="1200"/>
        </a:p>
      </dsp:txBody>
      <dsp:txXfrm>
        <a:off x="50723" y="107"/>
        <a:ext cx="2602357" cy="1561414"/>
      </dsp:txXfrm>
    </dsp:sp>
    <dsp:sp modelId="{7F9F3694-5626-4642-8250-350F7817236F}">
      <dsp:nvSpPr>
        <dsp:cNvPr id="0" name=""/>
        <dsp:cNvSpPr/>
      </dsp:nvSpPr>
      <dsp:spPr>
        <a:xfrm>
          <a:off x="2913316" y="10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 dirty="0"/>
            <a:t>ból wywołany zastrzykami</a:t>
          </a:r>
          <a:endParaRPr lang="en-US" sz="2100" kern="1200" dirty="0"/>
        </a:p>
      </dsp:txBody>
      <dsp:txXfrm>
        <a:off x="2913316" y="107"/>
        <a:ext cx="2602357" cy="1561414"/>
      </dsp:txXfrm>
    </dsp:sp>
    <dsp:sp modelId="{D02F3111-7538-4030-81D3-8068B2162534}">
      <dsp:nvSpPr>
        <dsp:cNvPr id="0" name=""/>
        <dsp:cNvSpPr/>
      </dsp:nvSpPr>
      <dsp:spPr>
        <a:xfrm>
          <a:off x="5775909" y="10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 dirty="0"/>
            <a:t>fobia przed igłą czy ukłuciem</a:t>
          </a:r>
          <a:endParaRPr lang="en-US" sz="2100" kern="1200" dirty="0"/>
        </a:p>
      </dsp:txBody>
      <dsp:txXfrm>
        <a:off x="5775909" y="107"/>
        <a:ext cx="2602357" cy="1561414"/>
      </dsp:txXfrm>
    </dsp:sp>
    <dsp:sp modelId="{C8C34213-0FB8-4795-B674-C91D238B8DE5}">
      <dsp:nvSpPr>
        <dsp:cNvPr id="0" name=""/>
        <dsp:cNvSpPr/>
      </dsp:nvSpPr>
      <dsp:spPr>
        <a:xfrm>
          <a:off x="8638502" y="10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 dirty="0"/>
            <a:t>problemy z podróżowaniem</a:t>
          </a:r>
          <a:endParaRPr lang="en-US" sz="2100" kern="1200" dirty="0"/>
        </a:p>
      </dsp:txBody>
      <dsp:txXfrm>
        <a:off x="8638502" y="107"/>
        <a:ext cx="2602357" cy="1561414"/>
      </dsp:txXfrm>
    </dsp:sp>
    <dsp:sp modelId="{00168ACE-B1C0-4474-A835-34666E163B2D}">
      <dsp:nvSpPr>
        <dsp:cNvPr id="0" name=""/>
        <dsp:cNvSpPr/>
      </dsp:nvSpPr>
      <dsp:spPr>
        <a:xfrm>
          <a:off x="1482020" y="182175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/>
            <a:t>problemy związane z przechowywaniem leku </a:t>
          </a:r>
          <a:endParaRPr lang="en-US" sz="2100" kern="1200" dirty="0"/>
        </a:p>
      </dsp:txBody>
      <dsp:txXfrm>
        <a:off x="1482020" y="1821757"/>
        <a:ext cx="2602357" cy="1561414"/>
      </dsp:txXfrm>
    </dsp:sp>
    <dsp:sp modelId="{C5992B11-99BD-4674-B491-B4D2AAA97B37}">
      <dsp:nvSpPr>
        <dsp:cNvPr id="0" name=""/>
        <dsp:cNvSpPr/>
      </dsp:nvSpPr>
      <dsp:spPr>
        <a:xfrm>
          <a:off x="4344612" y="182175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 dirty="0"/>
            <a:t>brak edukacji na temat korzyści płynących z leczenia (dzieci i rodzice)</a:t>
          </a:r>
          <a:endParaRPr lang="en-US" sz="2100" kern="1200" dirty="0"/>
        </a:p>
      </dsp:txBody>
      <dsp:txXfrm>
        <a:off x="4344612" y="1821757"/>
        <a:ext cx="2602357" cy="1561414"/>
      </dsp:txXfrm>
    </dsp:sp>
    <dsp:sp modelId="{FE0E24A8-6537-4CE9-B901-AFAECAC4BECB}">
      <dsp:nvSpPr>
        <dsp:cNvPr id="0" name=""/>
        <dsp:cNvSpPr/>
      </dsp:nvSpPr>
      <dsp:spPr>
        <a:xfrm>
          <a:off x="7207205" y="1821757"/>
          <a:ext cx="2602357" cy="156141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100" kern="1200" dirty="0"/>
            <a:t>„</a:t>
          </a:r>
          <a:r>
            <a:rPr lang="pl-PL" sz="2100" b="1" kern="1200" dirty="0"/>
            <a:t>zmęczenie iniekcyjne</a:t>
          </a:r>
          <a:r>
            <a:rPr lang="pl-PL" sz="2100" kern="1200" dirty="0"/>
            <a:t>” – leczenie trwa zazwyczaj wiele lat</a:t>
          </a:r>
          <a:endParaRPr lang="en-US" sz="2100" kern="1200" dirty="0"/>
        </a:p>
      </dsp:txBody>
      <dsp:txXfrm>
        <a:off x="7207205" y="1821757"/>
        <a:ext cx="2602357" cy="15614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3/27/2025</a:t>
            </a:fld>
            <a:endParaRPr lang="en-US" sz="105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1-12T19:30:48.309"/>
    </inkml:context>
    <inkml:brush xml:id="br0">
      <inkml:brushProperty name="width" value="0.05" units="cm"/>
      <inkml:brushProperty name="height" value="0.05" units="cm"/>
      <inkml:brushProperty name="color" value="#F6630D"/>
      <inkml:brushProperty name="ignorePressure" value="1"/>
    </inkml:brush>
  </inkml:definitions>
  <inkml:trace contextRef="#ctx0" brushRef="#br0">0 47,'0'-3,"0"-3,0-5,0-3,0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6588" y="327025"/>
            <a:ext cx="5584825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031307"/>
            <a:ext cx="6856413" cy="280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77035"/>
            <a:ext cx="5486400" cy="52390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390.png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90397BB-F117-799D-A0E2-9FC12F591C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618AF43-0E9C-AA42-157F-89C0A101B3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None/>
            </a:pPr>
            <a:endParaRPr lang="pl-PL" sz="1200" b="0" i="0" dirty="0">
              <a:solidFill>
                <a:srgbClr val="111111"/>
              </a:solidFill>
              <a:effectLst/>
              <a:latin typeface="-apple-system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52561-97FC-4422-5CF5-17D9598D34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CD9BB1-553A-4280-B031-AA08092A688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800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ymbol zastępczy obrazu slajdu 1">
            <a:extLst>
              <a:ext uri="{FF2B5EF4-FFF2-40B4-BE49-F238E27FC236}">
                <a16:creationId xmlns:a16="http://schemas.microsoft.com/office/drawing/2014/main" id="{ADCAEA95-B349-96D4-DB65-955596F74DE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7" name="Symbol zastępczy notatek 2">
            <a:extLst>
              <a:ext uri="{FF2B5EF4-FFF2-40B4-BE49-F238E27FC236}">
                <a16:creationId xmlns:a16="http://schemas.microsoft.com/office/drawing/2014/main" id="{E7107FAA-70F7-5662-73DB-6ECA507482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l-PL" altLang="pl-PL">
              <a:latin typeface="Arial" panose="020B0604020202020204" pitchFamily="34" charset="0"/>
            </a:endParaRPr>
          </a:p>
        </p:txBody>
      </p:sp>
      <p:sp>
        <p:nvSpPr>
          <p:cNvPr id="52228" name="Symbol zastępczy numeru slajdu 3">
            <a:extLst>
              <a:ext uri="{FF2B5EF4-FFF2-40B4-BE49-F238E27FC236}">
                <a16:creationId xmlns:a16="http://schemas.microsoft.com/office/drawing/2014/main" id="{4676F798-BDD5-4750-ED3D-8120E24C6D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D3CD362-F923-48C5-A274-FA3E997BE828}" type="slidenum">
              <a:rPr lang="pl-PL" altLang="pl-PL" sz="1200" smtClean="0">
                <a:latin typeface="Times New Roman" panose="02020603050405020304" pitchFamily="18" charset="0"/>
              </a:rPr>
              <a:pPr/>
              <a:t>20</a:t>
            </a:fld>
            <a:endParaRPr lang="pl-PL" altLang="pl-PL" sz="12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ymbol zastępczy obrazu slajdu 1">
            <a:extLst>
              <a:ext uri="{FF2B5EF4-FFF2-40B4-BE49-F238E27FC236}">
                <a16:creationId xmlns:a16="http://schemas.microsoft.com/office/drawing/2014/main" id="{B55632FB-057B-404B-FCEA-DD6C4EFE938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5" name="Symbol zastępczy notatek 2">
            <a:extLst>
              <a:ext uri="{FF2B5EF4-FFF2-40B4-BE49-F238E27FC236}">
                <a16:creationId xmlns:a16="http://schemas.microsoft.com/office/drawing/2014/main" id="{07069E87-2968-8B78-F4C8-F304C214FA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l-PL" altLang="pl-PL">
              <a:latin typeface="Arial" panose="020B0604020202020204" pitchFamily="34" charset="0"/>
            </a:endParaRPr>
          </a:p>
        </p:txBody>
      </p:sp>
      <p:sp>
        <p:nvSpPr>
          <p:cNvPr id="54276" name="Symbol zastępczy numeru slajdu 3">
            <a:extLst>
              <a:ext uri="{FF2B5EF4-FFF2-40B4-BE49-F238E27FC236}">
                <a16:creationId xmlns:a16="http://schemas.microsoft.com/office/drawing/2014/main" id="{11E0FA79-E705-B29D-822E-41003BFE77A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E122660-3C70-434E-9080-634C01EDD1AB}" type="slidenum">
              <a:rPr lang="pl-PL" altLang="pl-PL" sz="1200" smtClean="0">
                <a:latin typeface="Times New Roman" panose="02020603050405020304" pitchFamily="18" charset="0"/>
              </a:rPr>
              <a:pPr/>
              <a:t>21</a:t>
            </a:fld>
            <a:endParaRPr lang="pl-PL" altLang="pl-PL" sz="12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768350"/>
            <a:ext cx="5654675" cy="3181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0EF302-6093-493F-855B-CD05A20C46CA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28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ymbol zastępczy obrazu slajdu 1">
            <a:extLst>
              <a:ext uri="{FF2B5EF4-FFF2-40B4-BE49-F238E27FC236}">
                <a16:creationId xmlns:a16="http://schemas.microsoft.com/office/drawing/2014/main" id="{AC51B7AB-CD9F-4082-C147-1CFA735767B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Symbol zastępczy notatek 2">
            <a:extLst>
              <a:ext uri="{FF2B5EF4-FFF2-40B4-BE49-F238E27FC236}">
                <a16:creationId xmlns:a16="http://schemas.microsoft.com/office/drawing/2014/main" id="{E4025A88-CF31-1227-9762-52766C61D9C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l-PL" altLang="pl-PL">
              <a:latin typeface="Arial" panose="020B0604020202020204" pitchFamily="34" charset="0"/>
            </a:endParaRPr>
          </a:p>
        </p:txBody>
      </p:sp>
      <p:sp>
        <p:nvSpPr>
          <p:cNvPr id="71684" name="Symbol zastępczy numeru slajdu 3">
            <a:extLst>
              <a:ext uri="{FF2B5EF4-FFF2-40B4-BE49-F238E27FC236}">
                <a16:creationId xmlns:a16="http://schemas.microsoft.com/office/drawing/2014/main" id="{E33ACEBF-44CA-4BA7-B434-EAC63C59B51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5E04D0-930A-4D4C-943D-6CF85BD27AE3}" type="slidenum">
              <a:rPr kumimoji="1" lang="pl-PL" altLang="pl-P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1" lang="pl-PL" altLang="pl-P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102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517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95693-C022-7372-D879-F7EFE0D65C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037D55-5BD9-9BF8-F15B-7D4CA5FED4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35000" y="327025"/>
            <a:ext cx="5588000" cy="31432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E5E113-9841-EE14-961E-F2033CFD17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518628-D89A-FAA7-4C5E-94B1CE49FE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izer Diatype" panose="020B0504040202060203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fizer Diatype" panose="020B0504040202060203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91385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8990D-1CF0-7660-7C8D-887654C07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398682-1D3D-2C96-FE2E-3E3FD721B4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4AAA6-6695-97BD-2F9B-204E9D5571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6F70B4-7F0E-80A0-9EF1-F38E096D07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4485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marR="0" lvl="0" indent="-174625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zerwanie leczenia: </a:t>
            </a:r>
            <a:br>
              <a:rPr lang="pl-PL" sz="12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  <a:sym typeface="Wingdings" panose="05000000000000000000" pitchFamily="2" charset="2"/>
              </a:rPr>
              <a:t> 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 przypadku potwierdzenia u pacjenta zamknięcia chrząstek nasadowych (płytek wzrostowych),</a:t>
            </a:r>
            <a:br>
              <a:rPr lang="pl-PL" sz="1200" dirty="0">
                <a:solidFill>
                  <a:srgbClr val="000096"/>
                </a:solidFill>
                <a:cs typeface="Arial"/>
              </a:rPr>
            </a:br>
            <a:r>
              <a:rPr lang="pl-PL" sz="1200" dirty="0">
                <a:solidFill>
                  <a:srgbClr val="000096"/>
                </a:solidFill>
                <a:cs typeface="Arial"/>
                <a:sym typeface="Wingdings" panose="05000000000000000000" pitchFamily="2" charset="2"/>
              </a:rPr>
              <a:t> 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u pacjentów, którzy osiągnęli końcowy lub prawie końcowy wzrost, tj. tempo wzrostu &lt; 2 cm/rok lub wiek kostny &gt; 14 lat u 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dziewcząt lub &gt; 16 lat u chłopców.</a:t>
            </a:r>
            <a:endParaRPr lang="pl-PL" sz="1200" dirty="0">
              <a:solidFill>
                <a:srgbClr val="000096"/>
              </a:solidFill>
              <a:cs typeface="Arial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9051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69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760413"/>
            <a:ext cx="5600700" cy="3151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0152" y="4461140"/>
            <a:ext cx="5969965" cy="4835260"/>
          </a:xfrm>
        </p:spPr>
        <p:txBody>
          <a:bodyPr/>
          <a:lstStyle/>
          <a:p>
            <a:pPr marL="0" indent="0">
              <a:buNone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0EF302-6093-493F-855B-CD05A20C46C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50BA83-8C5A-458A-8CC0-E33CE291E17F}"/>
              </a:ext>
            </a:extLst>
          </p:cNvPr>
          <p:cNvSpPr txBox="1"/>
          <p:nvPr/>
        </p:nvSpPr>
        <p:spPr>
          <a:xfrm>
            <a:off x="22919" y="3515527"/>
            <a:ext cx="685800" cy="4571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0416" tIns="45208" rIns="90416" bIns="45208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od 2017, pg4/col2/para2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DB02A20-F681-447B-A52C-BEFE84138CEA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708719" y="3587640"/>
            <a:ext cx="267690" cy="1564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BEC35BA-D3F4-4A4F-AA04-F58248B66532}"/>
              </a:ext>
            </a:extLst>
          </p:cNvPr>
          <p:cNvSpPr txBox="1"/>
          <p:nvPr/>
        </p:nvSpPr>
        <p:spPr>
          <a:xfrm>
            <a:off x="22919" y="1535200"/>
            <a:ext cx="685800" cy="19199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0416" tIns="45208" rIns="90416" bIns="45208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o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QoL) 2017, p4/col2/¶ 1;pg6/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ble 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hta 2000/p3/para1 and bulle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span Chapter 6/p10/¶6; p11/¶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7F6EF1-9D24-4BA9-A5E2-25355F49F7E5}"/>
              </a:ext>
            </a:extLst>
          </p:cNvPr>
          <p:cNvSpPr txBox="1"/>
          <p:nvPr/>
        </p:nvSpPr>
        <p:spPr>
          <a:xfrm>
            <a:off x="6319858" y="1674018"/>
            <a:ext cx="713988" cy="13104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0416" tIns="45208" rIns="90416" bIns="45208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</a:t>
            </a:r>
            <a:r>
              <a:rPr kumimoji="0" lang="pt-BR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onibus</a:t>
            </a: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2016/p.364/</a:t>
            </a:r>
            <a:r>
              <a:rPr kumimoji="0" lang="pt-BR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g</a:t>
            </a: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; col1/¶3;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366/col1/¶4,5, col2/¶3,4; p369/col1/¶4-6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66F6ACAB-DFB9-4C49-873D-5453FD17E663}"/>
              </a:ext>
            </a:extLst>
          </p:cNvPr>
          <p:cNvSpPr/>
          <p:nvPr/>
        </p:nvSpPr>
        <p:spPr>
          <a:xfrm>
            <a:off x="700807" y="1274446"/>
            <a:ext cx="354000" cy="2069812"/>
          </a:xfrm>
          <a:prstGeom prst="leftBrac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416" tIns="45208" rIns="90416" bIns="45208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Left Brace 23">
            <a:extLst>
              <a:ext uri="{FF2B5EF4-FFF2-40B4-BE49-F238E27FC236}">
                <a16:creationId xmlns:a16="http://schemas.microsoft.com/office/drawing/2014/main" id="{372F81A7-667C-492D-A44D-1C0FE97BC1C8}"/>
              </a:ext>
            </a:extLst>
          </p:cNvPr>
          <p:cNvSpPr/>
          <p:nvPr/>
        </p:nvSpPr>
        <p:spPr>
          <a:xfrm rot="10800000">
            <a:off x="6085701" y="1203321"/>
            <a:ext cx="234311" cy="2129952"/>
          </a:xfrm>
          <a:prstGeom prst="leftBrace">
            <a:avLst>
              <a:gd name="adj1" fmla="val 8333"/>
              <a:gd name="adj2" fmla="val 51470"/>
            </a:avLst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0416" tIns="45208" rIns="90416" bIns="45208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2749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2001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0628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71A6A-0E76-4235-8559-6EEFC7B9DB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4440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E00C0-9573-B992-1351-A6FA39575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101D08-693A-76D8-F8BF-22652FA28A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5EE02A-27A8-BA75-BD02-B032D969DF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03C457-591C-7FE6-AAA7-2845981CFD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71A6A-0E76-4235-8559-6EEFC7B9DB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3291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6DB37-27BE-F40B-9134-97189349B9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375BD-9275-BC14-99CF-7F8FA0A2A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66C30C-002A-764A-8683-5A01CE675A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FFE264-8680-B001-3133-59CB618F25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71A6A-0E76-4235-8559-6EEFC7B9DB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9024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4BFBB-4BEE-E207-3C31-6CBC57CB1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E623A8-6BD0-3424-0A10-1E25C84FBE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CD6D4E-B9B4-6C28-BC53-5F96E124C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5377AB-96DC-6529-13EA-6F1E47C0EC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71A6A-0E76-4235-8559-6EEFC7B9DB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15320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A8D665-7CD6-4CA3-BFEA-153FAA0DBC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172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768350"/>
            <a:ext cx="5654675" cy="3181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0EF302-6093-493F-855B-CD05A20C46C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A764D4-2714-F846-916D-E65B3ACFD53D}"/>
              </a:ext>
            </a:extLst>
          </p:cNvPr>
          <p:cNvSpPr txBox="1"/>
          <p:nvPr/>
        </p:nvSpPr>
        <p:spPr>
          <a:xfrm>
            <a:off x="0" y="0"/>
            <a:ext cx="666206" cy="21852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700"/>
              <a:t>Genotropin value dossier/p14/bullet 1, 3</a:t>
            </a:r>
          </a:p>
          <a:p>
            <a:pPr>
              <a:spcAft>
                <a:spcPts val="600"/>
              </a:spcAft>
            </a:pPr>
            <a:r>
              <a:rPr lang="en-GB" sz="700" err="1"/>
              <a:t>Grimberg</a:t>
            </a:r>
            <a:r>
              <a:rPr lang="en-GB" sz="700"/>
              <a:t> 2018/p3/¶2 (for 83,803 and 277,264)</a:t>
            </a:r>
          </a:p>
          <a:p>
            <a:pPr>
              <a:spcAft>
                <a:spcPts val="600"/>
              </a:spcAft>
            </a:pPr>
            <a:r>
              <a:rPr lang="en-GB" sz="700"/>
              <a:t>KIMS (A6281307)-report-body/p28/section 10.1; KIMS </a:t>
            </a:r>
            <a:r>
              <a:rPr lang="en-GB" sz="700" err="1"/>
              <a:t>pt</a:t>
            </a:r>
            <a:r>
              <a:rPr lang="en-GB" sz="700"/>
              <a:t>-years from M. </a:t>
            </a:r>
            <a:r>
              <a:rPr lang="en-GB" sz="700" err="1"/>
              <a:t>Wajnrajch</a:t>
            </a:r>
            <a:endParaRPr lang="en-GB" sz="7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8B0EFB-0E25-B84A-8A6F-1E71307FD945}"/>
              </a:ext>
            </a:extLst>
          </p:cNvPr>
          <p:cNvSpPr txBox="1"/>
          <p:nvPr/>
        </p:nvSpPr>
        <p:spPr>
          <a:xfrm>
            <a:off x="6434625" y="1749647"/>
            <a:ext cx="666206" cy="5232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700"/>
              <a:t>Genotropin value dossier/p14/bullet 3,5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20BD193-C77E-C94A-B045-96B0A0CDD2F8}"/>
              </a:ext>
            </a:extLst>
          </p:cNvPr>
          <p:cNvCxnSpPr>
            <a:stCxn id="6" idx="1"/>
          </p:cNvCxnSpPr>
          <p:nvPr/>
        </p:nvCxnSpPr>
        <p:spPr>
          <a:xfrm flipH="1">
            <a:off x="5917019" y="2011257"/>
            <a:ext cx="517606" cy="33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B07C5A9-6D04-3142-B121-D1A1B4FF235F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666206" y="1092607"/>
            <a:ext cx="349203" cy="7966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5D3EACED-37D0-4AFB-8D5B-F5477BFA80A1}"/>
                  </a:ext>
                </a:extLst>
              </p14:cNvPr>
              <p14:cNvContentPartPr/>
              <p14:nvPr/>
            </p14:nvContentPartPr>
            <p14:xfrm>
              <a:off x="8921470" y="2332280"/>
              <a:ext cx="360" cy="1728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5D3EACED-37D0-4AFB-8D5B-F5477BFA80A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912470" y="2323280"/>
                <a:ext cx="18000" cy="34920"/>
              </a:xfrm>
              <a:prstGeom prst="rect">
                <a:avLst/>
              </a:prstGeom>
            </p:spPr>
          </p:pic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82A84DCE-51F1-6E4D-87CB-AF2B1D975820}"/>
              </a:ext>
            </a:extLst>
          </p:cNvPr>
          <p:cNvSpPr txBox="1"/>
          <p:nvPr/>
        </p:nvSpPr>
        <p:spPr>
          <a:xfrm>
            <a:off x="6434625" y="2588063"/>
            <a:ext cx="666206" cy="5232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700"/>
              <a:t>Genotropin value dossier/p14/bullet 4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4561126-BC3E-DC4C-955A-62CD20957CD3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6147797" y="2849673"/>
            <a:ext cx="286828" cy="1308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9730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955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959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" indent="0">
              <a:buNone/>
            </a:pPr>
            <a:endParaRPr lang="pl-PL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765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obrazu slajdu 1">
            <a:extLst>
              <a:ext uri="{FF2B5EF4-FFF2-40B4-BE49-F238E27FC236}">
                <a16:creationId xmlns:a16="http://schemas.microsoft.com/office/drawing/2014/main" id="{E8E14027-CB7F-2742-E0E6-07E1452279A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7" name="Symbol zastępczy notatek 2">
            <a:extLst>
              <a:ext uri="{FF2B5EF4-FFF2-40B4-BE49-F238E27FC236}">
                <a16:creationId xmlns:a16="http://schemas.microsoft.com/office/drawing/2014/main" id="{F28887B6-FCBC-417F-4948-5EF7F724C76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l-PL" altLang="pl-PL">
              <a:latin typeface="Arial" panose="020B0604020202020204" pitchFamily="34" charset="0"/>
            </a:endParaRPr>
          </a:p>
        </p:txBody>
      </p:sp>
      <p:sp>
        <p:nvSpPr>
          <p:cNvPr id="41988" name="Symbol zastępczy numeru slajdu 3">
            <a:extLst>
              <a:ext uri="{FF2B5EF4-FFF2-40B4-BE49-F238E27FC236}">
                <a16:creationId xmlns:a16="http://schemas.microsoft.com/office/drawing/2014/main" id="{EF8E0357-C496-4235-54EC-885DA701423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163638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163638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63638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63638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63638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63638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63638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63638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63638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EA58487-94EA-4158-A770-A1A0C0546365}" type="slidenum">
              <a:rPr lang="pl-PL" altLang="pl-PL" sz="1600" smtClean="0">
                <a:latin typeface="Times New Roman" panose="02020603050405020304" pitchFamily="18" charset="0"/>
              </a:rPr>
              <a:pPr/>
              <a:t>13</a:t>
            </a:fld>
            <a:endParaRPr lang="pl-PL" altLang="pl-PL" sz="16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900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>
              <a:lnSpc>
                <a:spcPct val="107000"/>
              </a:lnSpc>
              <a:spcAft>
                <a:spcPts val="800"/>
              </a:spcAft>
              <a:buNone/>
            </a:pPr>
            <a:endParaRPr lang="en-US" sz="11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702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7020" indent="0">
              <a:buNone/>
            </a:pPr>
            <a:endParaRPr lang="pl-PL" sz="1200" b="1" baseline="30000" dirty="0">
              <a:solidFill>
                <a:schemeClr val="accent1"/>
              </a:solidFill>
            </a:endParaRP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157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6.xml"/><Relationship Id="rId3" Type="http://schemas.openxmlformats.org/officeDocument/2006/relationships/image" Target="../media/image19.svg"/><Relationship Id="rId7" Type="http://schemas.openxmlformats.org/officeDocument/2006/relationships/slide" Target="../slides/slide4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6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28.xml"/><Relationship Id="rId5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28.xml"/><Relationship Id="rId4" Type="http://schemas.openxmlformats.org/officeDocument/2006/relationships/slide" Target="../slides/slide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3D wave in pink and blue&#10;&#10;Description automatically generated">
            <a:extLst>
              <a:ext uri="{FF2B5EF4-FFF2-40B4-BE49-F238E27FC236}">
                <a16:creationId xmlns:a16="http://schemas.microsoft.com/office/drawing/2014/main" id="{B203190B-62DF-BD24-C671-EE555E220A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90296" cy="685704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B86E2D-6F15-4F13-C1C6-2F4A77C9F08D}"/>
              </a:ext>
            </a:extLst>
          </p:cNvPr>
          <p:cNvSpPr/>
          <p:nvPr userDrawn="1"/>
        </p:nvSpPr>
        <p:spPr>
          <a:xfrm>
            <a:off x="0" y="0"/>
            <a:ext cx="5082988" cy="6858000"/>
          </a:xfrm>
          <a:prstGeom prst="rect">
            <a:avLst/>
          </a:prstGeom>
          <a:solidFill>
            <a:schemeClr val="bg1">
              <a:alpha val="697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l-PL"/>
              <a:t>Kliknij, aby edytować sty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599733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5949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3063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89084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68272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78D8D35-ECC5-49CD-9ACE-2A1DD6D33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436096E-CCF2-4C8D-B1B4-A7F6009AF5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6508E13A-9118-4311-835C-370508B9C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C445A-2E15-4C61-8778-99D0C87A0255}" type="datetimeFigureOut">
              <a:rPr lang="pl-PL" smtClean="0"/>
              <a:t>27.03.2025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D122C9E-3A8B-497B-B3C9-CF6AA8964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F30D6D25-B93E-4AA7-A9B5-A71D76554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E05B6-2370-499B-83A8-2AF682154CB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814774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31881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D884F4-659B-441F-45EE-F923C221E5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829" y="5762143"/>
            <a:ext cx="1443521" cy="589314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4B97BE01-F0D5-3584-357C-76DC10137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658" y="648878"/>
            <a:ext cx="9184408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196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88C328-0B4B-58D0-9900-6682D7CF3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7953" y="3226917"/>
            <a:ext cx="4870571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798" kern="1200" spc="-50" dirty="0" smtClean="0">
                <a:solidFill>
                  <a:schemeClr val="bg1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3429" y="5953479"/>
            <a:ext cx="4870571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1998" kern="1200" spc="-50" dirty="0" smtClean="0">
                <a:solidFill>
                  <a:schemeClr val="bg1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A75169-BD02-C8C2-7994-26CD0B402F72}"/>
              </a:ext>
            </a:extLst>
          </p:cNvPr>
          <p:cNvSpPr txBox="1"/>
          <p:nvPr userDrawn="1"/>
        </p:nvSpPr>
        <p:spPr>
          <a:xfrm>
            <a:off x="9318802" y="6519449"/>
            <a:ext cx="2356996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>
                <a:solidFill>
                  <a:schemeClr val="bg1"/>
                </a:solidFill>
                <a:latin typeface="Pfizer Diatype Medium" panose="020B0504040202060203" pitchFamily="34" charset="77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6467657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3D wave in pink and blue&#10;&#10;Description automatically generated">
            <a:extLst>
              <a:ext uri="{FF2B5EF4-FFF2-40B4-BE49-F238E27FC236}">
                <a16:creationId xmlns:a16="http://schemas.microsoft.com/office/drawing/2014/main" id="{B203190B-62DF-BD24-C671-EE555E220A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893"/>
            <a:ext cx="12190296" cy="685704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B86E2D-6F15-4F13-C1C6-2F4A77C9F08D}"/>
              </a:ext>
            </a:extLst>
          </p:cNvPr>
          <p:cNvSpPr/>
          <p:nvPr userDrawn="1"/>
        </p:nvSpPr>
        <p:spPr>
          <a:xfrm>
            <a:off x="0" y="0"/>
            <a:ext cx="5082988" cy="6858000"/>
          </a:xfrm>
          <a:prstGeom prst="rect">
            <a:avLst/>
          </a:prstGeom>
          <a:solidFill>
            <a:schemeClr val="bg1">
              <a:alpha val="697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8014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D97F1A1-594A-886D-93B9-8DBC4B0A0D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1" y="893"/>
            <a:ext cx="12188825" cy="6856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45E3F6-C501-965F-3AA1-0CE5E45A8C8B}"/>
              </a:ext>
            </a:extLst>
          </p:cNvPr>
          <p:cNvSpPr/>
          <p:nvPr userDrawn="1"/>
        </p:nvSpPr>
        <p:spPr>
          <a:xfrm>
            <a:off x="0" y="0"/>
            <a:ext cx="5082988" cy="6858000"/>
          </a:xfrm>
          <a:prstGeom prst="rect">
            <a:avLst/>
          </a:prstGeom>
          <a:solidFill>
            <a:schemeClr val="bg1">
              <a:alpha val="697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26007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257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D97F1A1-594A-886D-93B9-8DBC4B0A0D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93"/>
            <a:ext cx="12188825" cy="6856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45E3F6-C501-965F-3AA1-0CE5E45A8C8B}"/>
              </a:ext>
            </a:extLst>
          </p:cNvPr>
          <p:cNvSpPr/>
          <p:nvPr userDrawn="1"/>
        </p:nvSpPr>
        <p:spPr>
          <a:xfrm>
            <a:off x="0" y="0"/>
            <a:ext cx="5082988" cy="6858000"/>
          </a:xfrm>
          <a:prstGeom prst="rect">
            <a:avLst/>
          </a:prstGeom>
          <a:solidFill>
            <a:schemeClr val="bg1">
              <a:alpha val="697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Kliknij, aby edytować styl</a:t>
            </a:r>
            <a:endParaRPr lang="en-US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49366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28625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11768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18108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35580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08817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0453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4378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7480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7309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949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91243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010D9A-45C6-7B54-6CD4-7C6082810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59127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010D9A-45C6-7B54-6CD4-7C6082810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C2EEF2-59E6-D992-E14D-9163981F0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830" y="184151"/>
            <a:ext cx="11055645" cy="673100"/>
          </a:xfrm>
        </p:spPr>
        <p:txBody>
          <a:bodyPr vert="horz" lIns="0" rIns="0" anchor="b">
            <a:normAutofit/>
          </a:bodyPr>
          <a:lstStyle>
            <a:lvl1pPr rtl="0">
              <a:defRPr sz="2798" b="1"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E4553-2F4C-EFDA-B0A3-15DB6FB48B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830" y="1543053"/>
            <a:ext cx="11055645" cy="4633913"/>
          </a:xfrm>
        </p:spPr>
        <p:txBody>
          <a:bodyPr lIns="0" rIns="0">
            <a:normAutofit/>
          </a:bodyPr>
          <a:lstStyle>
            <a:lvl1pPr marL="0" indent="0" rtl="0">
              <a:buClr>
                <a:srgbClr val="0095FF"/>
              </a:buClr>
              <a:buFontTx/>
              <a:buNone/>
              <a:defRPr sz="16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rtl="0">
              <a:buClrTx/>
              <a:defRPr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rtl="0">
              <a:buClrTx/>
              <a:defRPr sz="12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rtl="0">
              <a:buClrTx/>
              <a:defRPr sz="11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rtl="0">
              <a:buClrTx/>
              <a:defRPr sz="11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E8C410-6FF6-E4B9-93D4-6C6160662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830" y="857252"/>
            <a:ext cx="11055645" cy="466724"/>
          </a:xfrm>
        </p:spPr>
        <p:txBody>
          <a:bodyPr lIns="0" rIns="0">
            <a:noAutofit/>
          </a:bodyPr>
          <a:lstStyle>
            <a:lvl1pPr marL="0" indent="0" rtl="0">
              <a:buFontTx/>
              <a:buNone/>
              <a:defRPr sz="1798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456926" indent="0">
              <a:buFontTx/>
              <a:buNone/>
              <a:defRPr/>
            </a:lvl2pPr>
            <a:lvl3pPr marL="913852" indent="0">
              <a:buFontTx/>
              <a:buNone/>
              <a:defRPr/>
            </a:lvl3pPr>
            <a:lvl4pPr marL="1370778" indent="0">
              <a:buFontTx/>
              <a:buNone/>
              <a:defRPr/>
            </a:lvl4pPr>
            <a:lvl5pPr marL="182770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16CCB9E-1235-443A-9197-D575E1EA5A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829" y="68734"/>
            <a:ext cx="5380224" cy="230832"/>
          </a:xfrm>
        </p:spPr>
        <p:txBody>
          <a:bodyPr lIns="0" rIns="0">
            <a:spAutoFit/>
          </a:bodyPr>
          <a:lstStyle>
            <a:lvl1pPr marL="0" indent="0" rtl="0">
              <a:buNone/>
              <a:defRPr sz="10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456926" indent="0">
              <a:buNone/>
              <a:defRPr sz="1000"/>
            </a:lvl2pPr>
            <a:lvl3pPr marL="913852" indent="0">
              <a:buNone/>
              <a:defRPr sz="10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9CD3ED-552E-E0FC-8839-3802A354C30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242765" y="6490304"/>
            <a:ext cx="3700122" cy="297750"/>
          </a:xfrm>
          <a:prstGeom prst="rect">
            <a:avLst/>
          </a:prstGeom>
        </p:spPr>
        <p:txBody>
          <a:bodyPr wrap="square" lIns="45684" tIns="45684" rIns="45684" bIns="45684" rtlCol="0">
            <a:spAutoFit/>
          </a:bodyPr>
          <a:lstStyle/>
          <a:p>
            <a:pPr marL="0" indent="0" algn="ctr" rtl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600">
                <a:solidFill>
                  <a:srgbClr val="5F5F5F"/>
                </a:solidFill>
              </a:rPr>
              <a:t>DRAFT – SUBJECT TO FURTHER REVIEW. </a:t>
            </a:r>
          </a:p>
          <a:p>
            <a:pPr marL="0" indent="0" algn="ctr" rtl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600">
                <a:solidFill>
                  <a:srgbClr val="5F5F5F"/>
                </a:solidFill>
              </a:rPr>
              <a:t>PFIZER CONFIDENTIAL &amp; PROPRIETARY. INTERNAL USE ONLY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A40210-DEA8-6101-7387-9451FC0EF60B}"/>
              </a:ext>
            </a:extLst>
          </p:cNvPr>
          <p:cNvSpPr txBox="1"/>
          <p:nvPr userDrawn="1"/>
        </p:nvSpPr>
        <p:spPr>
          <a:xfrm>
            <a:off x="10658720" y="6490304"/>
            <a:ext cx="958755" cy="204134"/>
          </a:xfrm>
          <a:prstGeom prst="rect">
            <a:avLst/>
          </a:prstGeom>
        </p:spPr>
        <p:txBody>
          <a:bodyPr wrap="square" lIns="45684" tIns="45684" rIns="45684" bIns="45684" rtlCol="0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600">
                <a:solidFill>
                  <a:srgbClr val="5F5F5F"/>
                </a:solidFill>
              </a:defRPr>
            </a:lvl1pPr>
          </a:lstStyle>
          <a:p>
            <a:pPr lvl="0" algn="r" rtl="0"/>
            <a:fld id="{EBA3B0A3-947B-4A5B-9887-42FDB79F04D2}" type="slidenum">
              <a:rPr lang="en-US" sz="800" noProof="0" smtClean="0"/>
              <a:pPr lvl="0" algn="r" rtl="0"/>
              <a:t>‹#›</a:t>
            </a:fld>
            <a:endParaRPr lang="en-US" sz="800" noProof="0"/>
          </a:p>
        </p:txBody>
      </p:sp>
    </p:spTree>
    <p:extLst>
      <p:ext uri="{BB962C8B-B14F-4D97-AF65-F5344CB8AC3E}">
        <p14:creationId xmlns:p14="http://schemas.microsoft.com/office/powerpoint/2010/main" val="4180261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46" y="615429"/>
            <a:ext cx="9184408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196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91BD0C0B-A98D-5936-804D-A5476E8CF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6116" y="6515104"/>
            <a:ext cx="1143238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fizer Diatype Medium" panose="020B0504040202060203" pitchFamily="34" charset="0"/>
              </a:defRPr>
            </a:lvl1pPr>
          </a:lstStyle>
          <a:p>
            <a:fld id="{2B39012A-6F33-204B-8224-A57BEFB0AA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CEA907-6F56-E6DB-B767-45FE06E496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121" y="6408420"/>
            <a:ext cx="727940" cy="297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A029-15D9-FE7B-FD83-A16805E7FA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882035" y="6519449"/>
            <a:ext cx="2356996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>
                <a:solidFill>
                  <a:schemeClr val="bg1"/>
                </a:solidFill>
                <a:latin typeface="Pfizer Diatype Medium" panose="020B0504040202060203" pitchFamily="34" charset="0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802919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Pfizer Diatype Medium" panose="020B050404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245" y="615429"/>
            <a:ext cx="10998772" cy="46615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697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763F9-86FB-50D0-2494-390619CE8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006" y="1043047"/>
            <a:ext cx="1099866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BE6B15-71EC-73AC-3FD6-04E249DBDF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0005" y="5926784"/>
            <a:ext cx="10998664" cy="347472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950" kern="1200" dirty="0">
                <a:solidFill>
                  <a:srgbClr val="02005E"/>
                </a:solidFill>
                <a:latin typeface="Pfizer Diatype" panose="020B050404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9687209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Pfizer Diatype Medium" panose="020B0504040202060203" pitchFamily="34" charset="0"/>
              </a:defRPr>
            </a:lvl1pPr>
          </a:lstStyle>
          <a:p>
            <a:endParaRPr lang="en-US"/>
          </a:p>
          <a:p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245" y="615429"/>
            <a:ext cx="10998772" cy="46615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697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763F9-86FB-50D0-2494-390619CE8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006" y="1043047"/>
            <a:ext cx="1099866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BE6B15-71EC-73AC-3FD6-04E249DBDF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0005" y="5926784"/>
            <a:ext cx="10998664" cy="347472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950" kern="1200" dirty="0">
                <a:solidFill>
                  <a:srgbClr val="02005E"/>
                </a:solidFill>
                <a:latin typeface="Pfizer Diatype" panose="020B050404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0398830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Pfizer Diatype Medium" panose="020B0504040202060203" pitchFamily="34" charset="0"/>
              </a:defRPr>
            </a:lvl1pPr>
          </a:lstStyle>
          <a:p>
            <a:fld id="{2B39012A-6F33-204B-8224-A57BEFB0AA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245" y="615429"/>
            <a:ext cx="10998772" cy="46615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697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763F9-86FB-50D0-2494-390619CE8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006" y="1043047"/>
            <a:ext cx="1099866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BE6B15-71EC-73AC-3FD6-04E249DBDF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0005" y="5926784"/>
            <a:ext cx="10998664" cy="347472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950" kern="1200" dirty="0">
                <a:solidFill>
                  <a:srgbClr val="02005E"/>
                </a:solidFill>
                <a:latin typeface="Pfizer Diatype" panose="020B050404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2435582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Title with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88825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Pfizer Diatype" panose="020B050404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3429" y="5953479"/>
            <a:ext cx="4870571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1998" kern="1200" spc="-50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122" y="5761669"/>
            <a:ext cx="1442271" cy="589788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47779D81-C5B7-9D06-E85C-734849E79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658" y="648878"/>
            <a:ext cx="9184408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196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CB0D16B-5D71-98DD-1BB3-47FCB31844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7953" y="3226917"/>
            <a:ext cx="4870571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798" kern="1200" spc="-50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6C1915-A948-27F3-421D-7A432528F01F}"/>
              </a:ext>
            </a:extLst>
          </p:cNvPr>
          <p:cNvSpPr txBox="1"/>
          <p:nvPr userDrawn="1"/>
        </p:nvSpPr>
        <p:spPr>
          <a:xfrm>
            <a:off x="9318802" y="6519449"/>
            <a:ext cx="2356996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latin typeface="Pfizer Diatype Medium" panose="020B0504040202060203" pitchFamily="34" charset="0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8578318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AA868-8872-43E4-8C98-D34DABD1FD38}" type="datetimeFigureOut">
              <a:rPr lang="pl-PL" smtClean="0"/>
              <a:t>27.03.2025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275970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336F4CE-8DA3-F07B-B991-365A446CA2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7B921E2E-2E36-15F4-D57A-B2D4A4B30D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039FB7B-968A-09E1-7726-88ADE6A5C3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49AFD-C944-48E1-BB5C-490A9AFC402B}" type="datetimeFigureOut">
              <a:rPr lang="pl-PL" smtClean="0"/>
              <a:t>27.03.2025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5772131-10D5-689E-1E4A-5A9EF33D0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91603382-A74E-BB2F-10B8-2619C1E59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DC660-343A-45BD-BA71-1D7854C3DEDE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97540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7936" indent="-7936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476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7936" indent="-7936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3867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62651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6348" indent="-6348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2472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1422030" y="2101850"/>
            <a:ext cx="5078677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703854" y="2101850"/>
            <a:ext cx="5078677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449737B0-9BF7-835A-9943-DDA839A8394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AC3FCF0D-7028-9EA2-B009-AF53A9CB31E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1B922276-E256-900A-4FA9-8761A586DA4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456286-1FFD-463E-86BD-E40C336BD872}" type="slidenum">
              <a:rPr lang="pl-PL" altLang="pl-PL"/>
              <a:pPr>
                <a:defRPr/>
              </a:pPr>
              <a:t>‹#›</a:t>
            </a:fld>
            <a:endParaRPr lang="pl-PL" altLang="pl-PL" sz="1400"/>
          </a:p>
        </p:txBody>
      </p:sp>
    </p:spTree>
    <p:extLst>
      <p:ext uri="{BB962C8B-B14F-4D97-AF65-F5344CB8AC3E}">
        <p14:creationId xmlns:p14="http://schemas.microsoft.com/office/powerpoint/2010/main" val="679036427"/>
      </p:ext>
    </p:extLst>
  </p:cSld>
  <p:clrMapOvr>
    <a:masterClrMapping/>
  </p:clrMapOvr>
  <p:transition spd="slow"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83045-6CB7-4C88-8A4E-57AB94F29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73FB9-336B-4823-A4F3-D036E71CE9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6319838"/>
            <a:ext cx="10406527" cy="347662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07568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83045-6CB7-4C88-8A4E-57AB94F29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73FB9-336B-4823-A4F3-D036E71CE9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6319838"/>
            <a:ext cx="10406527" cy="347662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6926" indent="0">
              <a:buNone/>
              <a:defRPr sz="1000"/>
            </a:lvl2pPr>
            <a:lvl3pPr marL="913852" indent="0">
              <a:buNone/>
              <a:defRPr sz="10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67168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_alt2" userDrawn="1">
  <p:cSld name="1_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E63531-9172-6343-B04D-74301EB2F7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88825" cy="6216151"/>
          </a:xfrm>
        </p:spPr>
        <p:txBody>
          <a:bodyPr/>
          <a:lstStyle/>
          <a:p>
            <a:endParaRPr lang="en-US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11378772" y="6333135"/>
            <a:ext cx="731409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rgbClr val="FFFFFF"/>
                </a:solidFill>
              </a:defRPr>
            </a:lvl1pPr>
            <a:lvl2pPr lvl="1" rtl="0">
              <a:buNone/>
              <a:defRPr>
                <a:solidFill>
                  <a:srgbClr val="FFFFFF"/>
                </a:solidFill>
              </a:defRPr>
            </a:lvl2pPr>
            <a:lvl3pPr lvl="2" rtl="0">
              <a:buNone/>
              <a:defRPr>
                <a:solidFill>
                  <a:srgbClr val="FFFFFF"/>
                </a:solidFill>
              </a:defRPr>
            </a:lvl3pPr>
            <a:lvl4pPr lvl="3" rtl="0">
              <a:buNone/>
              <a:defRPr>
                <a:solidFill>
                  <a:srgbClr val="FFFFFF"/>
                </a:solidFill>
              </a:defRPr>
            </a:lvl4pPr>
            <a:lvl5pPr lvl="4" rtl="0">
              <a:buNone/>
              <a:defRPr>
                <a:solidFill>
                  <a:srgbClr val="FFFFFF"/>
                </a:solidFill>
              </a:defRPr>
            </a:lvl5pPr>
            <a:lvl6pPr lvl="5" rtl="0">
              <a:buNone/>
              <a:defRPr>
                <a:solidFill>
                  <a:srgbClr val="FFFFFF"/>
                </a:solidFill>
              </a:defRPr>
            </a:lvl6pPr>
            <a:lvl7pPr lvl="6" rtl="0">
              <a:buNone/>
              <a:defRPr>
                <a:solidFill>
                  <a:srgbClr val="FFFFFF"/>
                </a:solidFill>
              </a:defRPr>
            </a:lvl7pPr>
            <a:lvl8pPr lvl="7" rtl="0">
              <a:buNone/>
              <a:defRPr>
                <a:solidFill>
                  <a:srgbClr val="FFFFFF"/>
                </a:solidFill>
              </a:defRPr>
            </a:lvl8pPr>
            <a:lvl9pPr lvl="8" rtl="0">
              <a:buNone/>
              <a:defRPr>
                <a:solidFill>
                  <a:srgbClr val="FFFFFF"/>
                </a:solidFill>
              </a:defRPr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9" name="Google Shape;49;p7"/>
          <p:cNvSpPr/>
          <p:nvPr/>
        </p:nvSpPr>
        <p:spPr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399" dirty="0"/>
          </a:p>
        </p:txBody>
      </p:sp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807" y="718531"/>
            <a:ext cx="1024893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199" b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542" y="591197"/>
            <a:ext cx="587631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399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399" dirty="0"/>
            </a:p>
          </p:txBody>
        </p:sp>
      </p:grpSp>
      <p:sp>
        <p:nvSpPr>
          <p:cNvPr id="15" name="Google Shape;51;p7">
            <a:extLst>
              <a:ext uri="{FF2B5EF4-FFF2-40B4-BE49-F238E27FC236}">
                <a16:creationId xmlns:a16="http://schemas.microsoft.com/office/drawing/2014/main" id="{652DF4B2-79B7-204E-8B3E-EBFCE13C958F}"/>
              </a:ext>
            </a:extLst>
          </p:cNvPr>
          <p:cNvSpPr txBox="1">
            <a:spLocks/>
          </p:cNvSpPr>
          <p:nvPr userDrawn="1"/>
        </p:nvSpPr>
        <p:spPr>
          <a:xfrm>
            <a:off x="10979136" y="6298545"/>
            <a:ext cx="731409" cy="524800"/>
          </a:xfrm>
          <a:prstGeom prst="rect">
            <a:avLst/>
          </a:prstGeom>
        </p:spPr>
        <p:txBody>
          <a:bodyPr spcFirstLastPara="1" wrap="square" lIns="121868" tIns="121868" rIns="121868" bIns="121868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GB" sz="800" smtClean="0"/>
              <a:pPr algn="r"/>
              <a:t>‹#›</a:t>
            </a:fld>
            <a:endParaRPr lang="en-GB" sz="800" dirty="0"/>
          </a:p>
        </p:txBody>
      </p:sp>
      <p:sp>
        <p:nvSpPr>
          <p:cNvPr id="16" name="Google Shape;52;p7">
            <a:extLst>
              <a:ext uri="{FF2B5EF4-FFF2-40B4-BE49-F238E27FC236}">
                <a16:creationId xmlns:a16="http://schemas.microsoft.com/office/drawing/2014/main" id="{D5008BD2-2349-0544-A768-1B50AAD98A6B}"/>
              </a:ext>
            </a:extLst>
          </p:cNvPr>
          <p:cNvSpPr txBox="1"/>
          <p:nvPr userDrawn="1"/>
        </p:nvSpPr>
        <p:spPr>
          <a:xfrm>
            <a:off x="10083834" y="6346339"/>
            <a:ext cx="1330453" cy="4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8843" y="6365471"/>
            <a:ext cx="822726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9A928EF-6091-1440-A392-1BE6DB46B9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348" y="6363250"/>
            <a:ext cx="2819985" cy="410633"/>
          </a:xfrm>
        </p:spPr>
        <p:txBody>
          <a:bodyPr/>
          <a:lstStyle>
            <a:lvl1pPr>
              <a:buNone/>
              <a:defRPr sz="800">
                <a:latin typeface="+mn-lt"/>
              </a:defRPr>
            </a:lvl1pPr>
            <a:lvl2pPr>
              <a:buNone/>
              <a:defRPr sz="800">
                <a:latin typeface="+mn-lt"/>
              </a:defRPr>
            </a:lvl2pPr>
            <a:lvl3pPr>
              <a:buNone/>
              <a:defRPr sz="800">
                <a:latin typeface="+mn-lt"/>
              </a:defRPr>
            </a:lvl3pPr>
            <a:lvl4pPr>
              <a:buNone/>
              <a:defRPr sz="800">
                <a:latin typeface="+mn-lt"/>
              </a:defRPr>
            </a:lvl4pPr>
            <a:lvl5pPr>
              <a:buNone/>
              <a:defRPr sz="800">
                <a:latin typeface="+mn-lt"/>
              </a:defRPr>
            </a:lvl5pPr>
          </a:lstStyle>
          <a:p>
            <a:pPr lvl="0"/>
            <a:r>
              <a:rPr lang="en-US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3097269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ain Title -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8D24EE8-203B-4B25-B048-6B6091790D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2578" y="6345913"/>
            <a:ext cx="638115" cy="37091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BF000D-E145-4361-AF4E-127D78E92A9E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EFA03DD-64D9-4B47-80B5-1AF32901A741}"/>
              </a:ext>
            </a:extLst>
          </p:cNvPr>
          <p:cNvSpPr/>
          <p:nvPr userDrawn="1"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E5B9C9-FB31-47B6-96D9-F43D9914EFDF}"/>
              </a:ext>
            </a:extLst>
          </p:cNvPr>
          <p:cNvSpPr/>
          <p:nvPr userDrawn="1"/>
        </p:nvSpPr>
        <p:spPr>
          <a:xfrm>
            <a:off x="6295388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99CB54-6029-44E7-99F2-5D8B0D22D141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2EDE9C-E598-43B6-8218-5788A6B502C6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163C6F-8241-4517-B3D0-E5CA455564A4}"/>
              </a:ext>
            </a:extLst>
          </p:cNvPr>
          <p:cNvSpPr/>
          <p:nvPr userDrawn="1"/>
        </p:nvSpPr>
        <p:spPr>
          <a:xfrm>
            <a:off x="422265" y="6705600"/>
            <a:ext cx="5850636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030" y="311029"/>
            <a:ext cx="5341947" cy="2852737"/>
          </a:xfrm>
        </p:spPr>
        <p:txBody>
          <a:bodyPr anchor="b"/>
          <a:lstStyle>
            <a:lvl1pPr algn="l"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3030" y="3429001"/>
            <a:ext cx="5341947" cy="1500187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309840-91AB-4C66-94CD-DBA446B53D4B}"/>
              </a:ext>
            </a:extLst>
          </p:cNvPr>
          <p:cNvCxnSpPr>
            <a:cxnSpLocks/>
          </p:cNvCxnSpPr>
          <p:nvPr userDrawn="1"/>
        </p:nvCxnSpPr>
        <p:spPr>
          <a:xfrm>
            <a:off x="933614" y="3282679"/>
            <a:ext cx="212432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erson in a yellow shirt&#10;&#10;Description automatically generated with low confidence">
            <a:extLst>
              <a:ext uri="{FF2B5EF4-FFF2-40B4-BE49-F238E27FC236}">
                <a16:creationId xmlns:a16="http://schemas.microsoft.com/office/drawing/2014/main" id="{EEC28B0E-8FDF-4620-9F37-7B060F6B2FEF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3841" y="0"/>
            <a:ext cx="5590436" cy="6858000"/>
          </a:xfrm>
          <a:prstGeom prst="rect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AB10A780-8B1D-4FD9-A3B9-B9DF931234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574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>
                    <a:lumMod val="60000"/>
                    <a:lumOff val="40000"/>
                  </a:schemeClr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>
                  <a:lumMod val="60000"/>
                  <a:lumOff val="40000"/>
                </a:schemeClr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19444848-A020-4A02-A3BE-B076CE3F71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59850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wo children walking on a dirt road&#10;&#10;Description automatically generated with low confidence">
            <a:extLst>
              <a:ext uri="{FF2B5EF4-FFF2-40B4-BE49-F238E27FC236}">
                <a16:creationId xmlns:a16="http://schemas.microsoft.com/office/drawing/2014/main" id="{2FAFA6C0-FE04-4FF7-B024-F8283FC0D5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5583" y="0"/>
            <a:ext cx="9988693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9CCF2BA-8568-4244-9254-54AB6E20DD2B}"/>
              </a:ext>
            </a:extLst>
          </p:cNvPr>
          <p:cNvSpPr/>
          <p:nvPr userDrawn="1"/>
        </p:nvSpPr>
        <p:spPr>
          <a:xfrm>
            <a:off x="2035584" y="862342"/>
            <a:ext cx="9988692" cy="1989574"/>
          </a:xfrm>
          <a:prstGeom prst="rect">
            <a:avLst/>
          </a:prstGeom>
          <a:gradFill flip="none" rotWithShape="1">
            <a:gsLst>
              <a:gs pos="60000">
                <a:srgbClr val="FFFFFF">
                  <a:alpha val="50000"/>
                </a:srgbClr>
              </a:gs>
              <a:gs pos="11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E9FC45-F8CD-4024-87CD-79A789CA586D}"/>
              </a:ext>
            </a:extLst>
          </p:cNvPr>
          <p:cNvSpPr/>
          <p:nvPr userDrawn="1"/>
        </p:nvSpPr>
        <p:spPr>
          <a:xfrm>
            <a:off x="2035584" y="0"/>
            <a:ext cx="9988692" cy="862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 userDrawn="1"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CE158412-5867-4F5E-B242-6EAEC179D18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89514" y="772481"/>
            <a:ext cx="899895" cy="88088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5C1FB8C5-A834-48AC-9BF0-5A968B1631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B364B7E4-49EA-413B-B078-9DFD3CD8EC2D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20" name="Round Same-side Corner of Rectangle 79">
              <a:extLst>
                <a:ext uri="{FF2B5EF4-FFF2-40B4-BE49-F238E27FC236}">
                  <a16:creationId xmlns:a16="http://schemas.microsoft.com/office/drawing/2014/main" id="{1DFAF9E8-E8F7-43BD-AACB-F9CDF853D4DB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D7B9970-49C7-4AF2-AB68-7D49F3CDE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22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E2E71B5F-E824-4D38-9974-F87934626EBF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7330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E66A838-00C6-42AB-A5B7-48ED587794E3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D70FA7-E522-416F-9C5A-9D73E495A5C1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7" name="TextBox 96">
            <a:hlinkClick r:id="" action="ppaction://noaction"/>
            <a:extLst>
              <a:ext uri="{FF2B5EF4-FFF2-40B4-BE49-F238E27FC236}">
                <a16:creationId xmlns:a16="http://schemas.microsoft.com/office/drawing/2014/main" id="{593FC829-6CCC-4D30-8468-B9BF4CB51EC7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4" y="426031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12DD9183-2641-E643-9759-BBCC8D3C1E83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" name="Round Same-side Corner of Rectangle 79">
            <a:extLst>
              <a:ext uri="{FF2B5EF4-FFF2-40B4-BE49-F238E27FC236}">
                <a16:creationId xmlns:a16="http://schemas.microsoft.com/office/drawing/2014/main" id="{7517B9FE-5E74-4EFC-9133-33671B7A62B7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C0837466-B889-4D1B-B10B-DB65993BEF0A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9C196DAC-1FA0-4E5D-90FE-B6694C979DDA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>
            <a:hlinkClick r:id="" action="ppaction://noaction"/>
            <a:extLst>
              <a:ext uri="{FF2B5EF4-FFF2-40B4-BE49-F238E27FC236}">
                <a16:creationId xmlns:a16="http://schemas.microsoft.com/office/drawing/2014/main" id="{6FE0EA3D-0963-416B-96C2-CBF020465E8E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AF5107B-0DF8-4F35-8DDF-557CD75C0F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6683A0D-E98C-440D-8C7A-DDADFEBEFA1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9B97565-766C-4682-AA18-5BB88BDF2C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10" name="Freeform 25">
            <a:extLst>
              <a:ext uri="{FF2B5EF4-FFF2-40B4-BE49-F238E27FC236}">
                <a16:creationId xmlns:a16="http://schemas.microsoft.com/office/drawing/2014/main" id="{68D6684C-2091-4ED4-9531-6A5D0C5483E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2" name="Round Same-side Corner of Rectangle 79">
            <a:extLst>
              <a:ext uri="{FF2B5EF4-FFF2-40B4-BE49-F238E27FC236}">
                <a16:creationId xmlns:a16="http://schemas.microsoft.com/office/drawing/2014/main" id="{CB3BF8E1-2A78-4AE2-86D4-5FAAC392F041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3" name="TextBox 22">
            <a:hlinkClick r:id="" action="ppaction://noaction"/>
            <a:extLst>
              <a:ext uri="{FF2B5EF4-FFF2-40B4-BE49-F238E27FC236}">
                <a16:creationId xmlns:a16="http://schemas.microsoft.com/office/drawing/2014/main" id="{2597F388-EF24-48BC-B981-9CA5EE83D0F6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A465B29B-0F5F-4B1A-9C54-A7E10993427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25" name="Graphic 28" descr="List">
            <a:extLst>
              <a:ext uri="{FF2B5EF4-FFF2-40B4-BE49-F238E27FC236}">
                <a16:creationId xmlns:a16="http://schemas.microsoft.com/office/drawing/2014/main" id="{4FF55F53-7BAA-413C-BA1C-85A4DFE8C483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65F8FA-2173-40A1-8AFD-4C91554DA2F7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C1E18B4-E6FE-4645-9422-36C82334A0BE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E92F2C0-5469-401C-AE3B-4E25F4EDCF2C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A4B1DF-41F0-420E-9F5F-1ABFCD8FB23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CC730A8-6FA4-41DE-B626-F5669BCD8C6D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B87AE37-E8F1-4A99-99C8-482AB31EAE48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DA81CFB-E385-453E-9DF5-A0E0FE5D2A44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B50D912-5DDD-4E61-8C8B-25CF92A2074C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97019BC-179A-48EB-A509-4952AD72B3B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36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9EAA248B-37E5-4DAC-AD41-CA965B7D1D86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7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DA1688C0-28E6-42EF-B32D-A513D79EE3C6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6FE5F6-99AE-4DA3-9D76-A9E933FDFCB0}"/>
              </a:ext>
            </a:extLst>
          </p:cNvPr>
          <p:cNvSpPr/>
          <p:nvPr userDrawn="1"/>
        </p:nvSpPr>
        <p:spPr>
          <a:xfrm rot="5400000">
            <a:off x="11265663" y="1151455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1AC31CB-7153-413F-B12D-F67A3CD7E7C2}"/>
              </a:ext>
            </a:extLst>
          </p:cNvPr>
          <p:cNvSpPr/>
          <p:nvPr userDrawn="1"/>
        </p:nvSpPr>
        <p:spPr>
          <a:xfrm rot="5400000">
            <a:off x="11265663" y="1514937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483B634-A68D-49AF-B35D-1F8A17C8488C}"/>
              </a:ext>
            </a:extLst>
          </p:cNvPr>
          <p:cNvSpPr/>
          <p:nvPr userDrawn="1"/>
        </p:nvSpPr>
        <p:spPr>
          <a:xfrm rot="5400000">
            <a:off x="11265663" y="1878420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59334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H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89B9EF9-DBA7-4FF3-83B6-AD7BF45703F8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DF5CFA-8760-4A29-830D-1B7A22A00FB3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B86FBB8-70D0-4852-842F-BDB0C7CC4774}"/>
              </a:ext>
            </a:extLst>
          </p:cNvPr>
          <p:cNvSpPr/>
          <p:nvPr userDrawn="1"/>
        </p:nvSpPr>
        <p:spPr>
          <a:xfrm>
            <a:off x="12097409" y="0"/>
            <a:ext cx="91416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4" y="775776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9AF8F6DB-3A97-4547-BDCF-B5C0383B0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1A9D5154-C6BE-423E-B3A6-06BC9E6C0BFB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50EF600A-4F27-4C12-813E-C635A57E50E1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Box 27">
            <a:hlinkClick r:id="" action="ppaction://noaction"/>
            <a:extLst>
              <a:ext uri="{FF2B5EF4-FFF2-40B4-BE49-F238E27FC236}">
                <a16:creationId xmlns:a16="http://schemas.microsoft.com/office/drawing/2014/main" id="{66495980-A5B8-4956-AFCF-6D2CB110E01E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9" name="Round Same-side Corner of Rectangle 79">
            <a:extLst>
              <a:ext uri="{FF2B5EF4-FFF2-40B4-BE49-F238E27FC236}">
                <a16:creationId xmlns:a16="http://schemas.microsoft.com/office/drawing/2014/main" id="{708B5B87-9CC8-431E-A060-68D1750D2233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0" name="Round Same-side Corner of Rectangle 79">
            <a:extLst>
              <a:ext uri="{FF2B5EF4-FFF2-40B4-BE49-F238E27FC236}">
                <a16:creationId xmlns:a16="http://schemas.microsoft.com/office/drawing/2014/main" id="{4BDB5721-E44A-434B-8FED-B28E4FFDB3DF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1" name="TextBox 30">
            <a:hlinkClick r:id="" action="ppaction://noaction"/>
            <a:extLst>
              <a:ext uri="{FF2B5EF4-FFF2-40B4-BE49-F238E27FC236}">
                <a16:creationId xmlns:a16="http://schemas.microsoft.com/office/drawing/2014/main" id="{9AD371BE-F72A-4976-ACCD-3F2C0EB38DB9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32" name="Round Same-side Corner of Rectangle 79">
            <a:extLst>
              <a:ext uri="{FF2B5EF4-FFF2-40B4-BE49-F238E27FC236}">
                <a16:creationId xmlns:a16="http://schemas.microsoft.com/office/drawing/2014/main" id="{B57EDB31-4757-422F-8E42-CB53A7FC0EE9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TextBox 33">
            <a:hlinkClick r:id="" action="ppaction://noaction"/>
            <a:extLst>
              <a:ext uri="{FF2B5EF4-FFF2-40B4-BE49-F238E27FC236}">
                <a16:creationId xmlns:a16="http://schemas.microsoft.com/office/drawing/2014/main" id="{81EF1990-80B0-4E17-A8DA-59DAF86D0D23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E7EA14CA-3587-4126-8D15-575A51263C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39" cap="flat">
            <a:noFill/>
            <a:prstDash val="solid"/>
            <a:miter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4293FF83-85BC-41B8-90AE-8E308468E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7" name="Freeform 25">
            <a:extLst>
              <a:ext uri="{FF2B5EF4-FFF2-40B4-BE49-F238E27FC236}">
                <a16:creationId xmlns:a16="http://schemas.microsoft.com/office/drawing/2014/main" id="{3BDC39AC-B907-4CF9-AF7F-EC681910203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8" name="Round Same-side Corner of Rectangle 79">
            <a:extLst>
              <a:ext uri="{FF2B5EF4-FFF2-40B4-BE49-F238E27FC236}">
                <a16:creationId xmlns:a16="http://schemas.microsoft.com/office/drawing/2014/main" id="{27D6C261-3E42-4937-BE74-F024841C1BE5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TextBox 38">
            <a:hlinkClick r:id="" action="ppaction://noaction"/>
            <a:extLst>
              <a:ext uri="{FF2B5EF4-FFF2-40B4-BE49-F238E27FC236}">
                <a16:creationId xmlns:a16="http://schemas.microsoft.com/office/drawing/2014/main" id="{C0C9A588-2001-47B6-ABD0-FBCDC1AFB035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40" name="Freeform 21">
            <a:extLst>
              <a:ext uri="{FF2B5EF4-FFF2-40B4-BE49-F238E27FC236}">
                <a16:creationId xmlns:a16="http://schemas.microsoft.com/office/drawing/2014/main" id="{EC795DFF-989A-48D9-A36C-FAB7E8A17DC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1" name="Graphic 28" descr="List">
            <a:extLst>
              <a:ext uri="{FF2B5EF4-FFF2-40B4-BE49-F238E27FC236}">
                <a16:creationId xmlns:a16="http://schemas.microsoft.com/office/drawing/2014/main" id="{1A8217ED-FA1F-4056-AA60-1D1851546BEE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628A865-68C8-48C5-BE63-36ED3E0D4286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2AF5730-2860-422B-BCAD-8A356CCD9844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A30AC31-510F-4F83-B744-0E1427156829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D8A72AF-FA7C-4997-A355-E29BDF60884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040E54-B2F9-43D0-8D4E-CF83F81575E8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355F231-7D07-440B-919E-C295F8EA1DB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52FE616-09FB-4150-ABB9-54EE8BE85256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890AE28-D996-4272-8582-7B3781A6E08D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8E55EF6-8DF7-42BE-83A9-13B2A6880A6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51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A082980-1160-4C8C-8DAC-120CD4143B0A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11F38F13-39EE-4D2A-A977-08353AEAF651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FE71B4B-9876-4ACA-9E1B-B201937D7D7F}"/>
              </a:ext>
            </a:extLst>
          </p:cNvPr>
          <p:cNvSpPr/>
          <p:nvPr userDrawn="1"/>
        </p:nvSpPr>
        <p:spPr>
          <a:xfrm rot="5400000">
            <a:off x="11265663" y="1151455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A5D62D6-FE1B-4DAE-B3DE-58222D82E5F0}"/>
              </a:ext>
            </a:extLst>
          </p:cNvPr>
          <p:cNvSpPr/>
          <p:nvPr userDrawn="1"/>
        </p:nvSpPr>
        <p:spPr>
          <a:xfrm rot="5400000">
            <a:off x="11265663" y="1514937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855D4F0-08CC-4625-9852-2C10E447A63B}"/>
              </a:ext>
            </a:extLst>
          </p:cNvPr>
          <p:cNvSpPr/>
          <p:nvPr userDrawn="1"/>
        </p:nvSpPr>
        <p:spPr>
          <a:xfrm rot="5400000">
            <a:off x="11265663" y="1878420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9654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975430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doctor showing a person something on a tablet&#10;&#10;Description automatically generated with low confidence">
            <a:extLst>
              <a:ext uri="{FF2B5EF4-FFF2-40B4-BE49-F238E27FC236}">
                <a16:creationId xmlns:a16="http://schemas.microsoft.com/office/drawing/2014/main" id="{659DF624-16F7-4030-A5D1-C6F6BD8E77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52446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DB3F733-F4EC-4D19-955A-73C9D9E06C74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24" name="Round Same-side Corner of Rectangle 79">
              <a:extLst>
                <a:ext uri="{FF2B5EF4-FFF2-40B4-BE49-F238E27FC236}">
                  <a16:creationId xmlns:a16="http://schemas.microsoft.com/office/drawing/2014/main" id="{F6C86760-BE05-4062-A876-69C3A7702DC0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CF0CD8D-A961-4DFC-82F2-86AD65CC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7FC48EA-7B9D-4CFF-B011-77FE4637913F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245C3B-0AB9-4C37-A82B-76BD07436AEC}"/>
              </a:ext>
            </a:extLst>
          </p:cNvPr>
          <p:cNvGrpSpPr/>
          <p:nvPr userDrawn="1"/>
        </p:nvGrpSpPr>
        <p:grpSpPr>
          <a:xfrm>
            <a:off x="908563" y="764248"/>
            <a:ext cx="531477" cy="802411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9BF94FF-40D3-48D4-82F9-2E5E6D477DB8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1CF226D-9ED8-4C7B-A6D9-0875E9A0D84E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EF24ED6-8213-4FB5-BA74-885B8EE5375A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C82E976-8DC5-4D52-BBC8-3D393103A0FA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A464C9C-313C-45AF-BFE0-C733296FFB85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AEA615C-6059-4395-B42C-466216766126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FF7F2B6E-DEE2-48C3-9126-DD295355E31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7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0B2010D9-4455-4F92-ADCA-CADAD73D4E00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08934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1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219847" y="1328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1</a:t>
            </a: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12B9BC4-C9DA-4448-8DC7-1F35B98CC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319944" marR="0" indent="-319944" algn="l" defTabSz="914126" rtl="0" eaLnBrk="1" fontAlgn="auto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lphaUcPeriod"/>
              <a:tabLst/>
              <a:defRPr>
                <a:solidFill>
                  <a:schemeClr val="tx1">
                    <a:lumMod val="50000"/>
                  </a:schemeClr>
                </a:solidFill>
              </a:defRPr>
            </a:lvl2pPr>
            <a:lvl3pPr marL="511910" indent="-274238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BFAEFC-2211-49AC-BF18-B83AEB886735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3C2196-DA31-4ADD-9029-9D146C80059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Round Same-side Corner of Rectangle 79">
            <a:extLst>
              <a:ext uri="{FF2B5EF4-FFF2-40B4-BE49-F238E27FC236}">
                <a16:creationId xmlns:a16="http://schemas.microsoft.com/office/drawing/2014/main" id="{D8C85FC7-2C6E-44F1-8101-9552E1EB2349}"/>
              </a:ext>
            </a:extLst>
          </p:cNvPr>
          <p:cNvSpPr/>
          <p:nvPr userDrawn="1"/>
        </p:nvSpPr>
        <p:spPr>
          <a:xfrm rot="16200000">
            <a:off x="11900597" y="1919803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323DBC9D-AE62-4BA8-8010-CA9E110C6621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4" name="TextBox 13">
            <a:hlinkClick r:id="" action="ppaction://noaction"/>
            <a:extLst>
              <a:ext uri="{FF2B5EF4-FFF2-40B4-BE49-F238E27FC236}">
                <a16:creationId xmlns:a16="http://schemas.microsoft.com/office/drawing/2014/main" id="{A240114C-7A23-4FF0-B806-66751E1821F1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74ECCE4-62D0-4ED4-8496-AABF7B5B3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82B6456-2948-4698-9F74-A1C0CE9C07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4B647F-5C6A-4891-8E7E-A5CC395829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D23C3B72-6045-4FD2-A12C-7C461896C0B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D7A5D32A-BEC6-4FFB-B7B4-660CC2F2ED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8D5E51-CE65-43C3-BDF0-F1CE7322AD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2BC6F4C-1150-4124-AF79-040C41556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D966AB41-8E28-4904-84C7-F1A11EC5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638339A7-E8AC-4239-B87C-F41D69746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2" name="Freeform 47">
            <a:extLst>
              <a:ext uri="{FF2B5EF4-FFF2-40B4-BE49-F238E27FC236}">
                <a16:creationId xmlns:a16="http://schemas.microsoft.com/office/drawing/2014/main" id="{F71D1E0E-DFF9-4618-8B94-A100B76A7F5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ABA8E43-7AC4-491A-BA3D-E536249183E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1B9485F-6A76-47F3-A157-52492209E045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B4C0E38-BA60-4889-9699-8D70F9B6635F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8962B84-69D6-49E2-A6D5-D1FD209ED69C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DCA5D961-6943-46CA-93F4-2CC2D19907A2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9F4C42D-FDA7-457B-8A3A-41396B5F36D4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A4C42627-1D5A-4360-8661-FC737DC06A60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8485F91F-E85C-4F6E-A76F-754F9962B97F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8921E42-F206-4F0A-A49C-168CEB1BF3F0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C9530FD-94E4-4080-B2BE-C982CCACBEE0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42537F-B107-4713-A503-AE87A91A0C8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E554BB40-EE30-45B3-B0FD-39098FEDE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D8E5B8FC-1AAB-487D-B330-DD4F72C760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id="{589B38A5-EDC2-466F-A666-6059EEC71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2B1FF14-C363-48E1-8ECF-E67EF6C4EE17}"/>
              </a:ext>
            </a:extLst>
          </p:cNvPr>
          <p:cNvGrpSpPr/>
          <p:nvPr userDrawn="1"/>
        </p:nvGrpSpPr>
        <p:grpSpPr>
          <a:xfrm>
            <a:off x="10888450" y="1863876"/>
            <a:ext cx="192036" cy="289932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89E47B6-77E2-4756-9416-398A46BB3868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FB901B2-072F-44BD-BCB2-80C58C3D4D73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A64DFE5-94DC-4099-8C03-12A6ECA15A4D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B6B40A1-930C-4260-847A-C3AFE48C299D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3104CD2-8693-4DB7-AC2D-0093CF85F6DA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ACC5431-AE35-4EDE-AAD0-CB193A0BF583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14BFD3AC-4AB3-4DD4-A81C-763FB4D24100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615ED974-0C51-49B7-9765-635B61D7660B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3" name="Round Same-side Corner of Rectangle 79">
            <a:extLst>
              <a:ext uri="{FF2B5EF4-FFF2-40B4-BE49-F238E27FC236}">
                <a16:creationId xmlns:a16="http://schemas.microsoft.com/office/drawing/2014/main" id="{C1BEB30F-B18F-4A20-988A-87E9DF77F63E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7" name="TextBox 76">
            <a:hlinkClick r:id="" action="ppaction://noaction"/>
            <a:extLst>
              <a:ext uri="{FF2B5EF4-FFF2-40B4-BE49-F238E27FC236}">
                <a16:creationId xmlns:a16="http://schemas.microsoft.com/office/drawing/2014/main" id="{4669B3FE-90DD-48B0-A71D-6F94AE50BAD6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81" name="Freeform 25">
            <a:extLst>
              <a:ext uri="{FF2B5EF4-FFF2-40B4-BE49-F238E27FC236}">
                <a16:creationId xmlns:a16="http://schemas.microsoft.com/office/drawing/2014/main" id="{74C0C8C4-8E20-49C6-834D-7639B378425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82" name="Round Same-side Corner of Rectangle 79">
            <a:extLst>
              <a:ext uri="{FF2B5EF4-FFF2-40B4-BE49-F238E27FC236}">
                <a16:creationId xmlns:a16="http://schemas.microsoft.com/office/drawing/2014/main" id="{0687D713-F3CA-4170-B330-C9C0855459E8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3" name="TextBox 82">
            <a:hlinkClick r:id="" action="ppaction://noaction"/>
            <a:extLst>
              <a:ext uri="{FF2B5EF4-FFF2-40B4-BE49-F238E27FC236}">
                <a16:creationId xmlns:a16="http://schemas.microsoft.com/office/drawing/2014/main" id="{EDAD2830-A67D-455A-BBFC-33409BF873ED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91" name="Freeform 21">
            <a:extLst>
              <a:ext uri="{FF2B5EF4-FFF2-40B4-BE49-F238E27FC236}">
                <a16:creationId xmlns:a16="http://schemas.microsoft.com/office/drawing/2014/main" id="{13E94539-F5B0-4665-89E0-47DB3A21F58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93" name="Graphic 28" descr="List">
            <a:extLst>
              <a:ext uri="{FF2B5EF4-FFF2-40B4-BE49-F238E27FC236}">
                <a16:creationId xmlns:a16="http://schemas.microsoft.com/office/drawing/2014/main" id="{D2DB2B60-0B29-4707-8741-887F215A798D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54C399A-6C5F-4AA7-94DE-476D78501F9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29FD170-2ACF-41A4-8ED5-4BC7A78AD620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9D52347-AC71-4512-83E1-DFFBF88DBD52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DC83048-732B-4C67-87D4-3E837830DE2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555DDF8-DC6F-4C38-9BAC-5D71DD1D9937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717A6A5-C466-428A-A1A4-61D43160BDD6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C101219-EF28-4A18-B442-7F7750BFE0F7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ED6DE41-549F-45DC-B507-EF3D0968E456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81AD9A-ABD3-4FFF-B660-E21AD0912F7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BFD41619-F31A-4DE1-B30A-42C6339A57A3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4EE930DC-63D3-4F6B-A445-F4C8E08B587D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AFFB2D3-3A07-4C13-99CE-E412EFBC8E87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F70FB88-0944-4D71-8B3E-D3D0442A73E7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B689473-8747-462A-A00F-1F29875942F3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0B5D73D2-57E3-4F77-BAED-AF40C56AC66E}"/>
              </a:ext>
            </a:extLst>
          </p:cNvPr>
          <p:cNvSpPr/>
          <p:nvPr userDrawn="1"/>
        </p:nvSpPr>
        <p:spPr>
          <a:xfrm rot="5400000">
            <a:off x="11283961" y="1283620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FBB1432-2436-4EAB-9C48-C030D5DB6EC6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1E92587C-B0ED-4C3B-8F69-6206FC08CD2D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A5BF027-3B5C-4DA3-AD1E-17E43FD21963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FCD0C7E-A5BA-4457-836F-0E9623185570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A7B0423-869C-4032-A026-22CF374BB678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8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CAEF2F05-D16C-4BFE-BF44-D6D6697766F4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0A056BF-82AF-488D-A6E6-E47879B042E2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32192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1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219847" y="1328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1</a:t>
            </a: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12B9BC4-C9DA-4448-8DC7-1F35B98CC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74238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228531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BFAEFC-2211-49AC-BF18-B83AEB886735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3C2196-DA31-4ADD-9029-9D146C80059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Round Same-side Corner of Rectangle 79">
            <a:extLst>
              <a:ext uri="{FF2B5EF4-FFF2-40B4-BE49-F238E27FC236}">
                <a16:creationId xmlns:a16="http://schemas.microsoft.com/office/drawing/2014/main" id="{D8C85FC7-2C6E-44F1-8101-9552E1EB2349}"/>
              </a:ext>
            </a:extLst>
          </p:cNvPr>
          <p:cNvSpPr/>
          <p:nvPr userDrawn="1"/>
        </p:nvSpPr>
        <p:spPr>
          <a:xfrm rot="16200000">
            <a:off x="11900597" y="1919803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323DBC9D-AE62-4BA8-8010-CA9E110C6621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4" name="TextBox 13">
            <a:hlinkClick r:id="" action="ppaction://noaction"/>
            <a:extLst>
              <a:ext uri="{FF2B5EF4-FFF2-40B4-BE49-F238E27FC236}">
                <a16:creationId xmlns:a16="http://schemas.microsoft.com/office/drawing/2014/main" id="{A240114C-7A23-4FF0-B806-66751E1821F1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74ECCE4-62D0-4ED4-8496-AABF7B5B3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82B6456-2948-4698-9F74-A1C0CE9C07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4B647F-5C6A-4891-8E7E-A5CC395829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D23C3B72-6045-4FD2-A12C-7C461896C0B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D7A5D32A-BEC6-4FFB-B7B4-660CC2F2ED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8D5E51-CE65-43C3-BDF0-F1CE7322AD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2BC6F4C-1150-4124-AF79-040C41556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D966AB41-8E28-4904-84C7-F1A11EC5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638339A7-E8AC-4239-B87C-F41D69746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2" name="Freeform 47">
            <a:extLst>
              <a:ext uri="{FF2B5EF4-FFF2-40B4-BE49-F238E27FC236}">
                <a16:creationId xmlns:a16="http://schemas.microsoft.com/office/drawing/2014/main" id="{F71D1E0E-DFF9-4618-8B94-A100B76A7F5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FD7C435-20C5-4A10-98A0-8EB0A359A1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F539517-90A1-47A1-A756-8F8D347F4279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9C9E748-EF19-4925-83A2-C616D019CBE1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5E1955D-C904-40D3-97B2-BA71712427B5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DEC7880-EAC1-490E-8CE9-EAA87E1B7165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ED73894-C8AB-4238-B872-717049BE2404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14CD0E4-753A-4AFE-AEC5-3B8416172E14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1E6BFC8-09D1-4C84-B22D-798383DFDBE1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D62B2FE-B41D-4A3D-9314-531D4B526E4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A97EC36-43D2-4DE1-AFB4-2DB02283BDA7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3487CD7-285A-43E8-B87E-3EA422EC44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7" name="Freeform 15">
              <a:extLst>
                <a:ext uri="{FF2B5EF4-FFF2-40B4-BE49-F238E27FC236}">
                  <a16:creationId xmlns:a16="http://schemas.microsoft.com/office/drawing/2014/main" id="{29701839-40DB-46A7-8D1B-7093F256BE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6">
              <a:extLst>
                <a:ext uri="{FF2B5EF4-FFF2-40B4-BE49-F238E27FC236}">
                  <a16:creationId xmlns:a16="http://schemas.microsoft.com/office/drawing/2014/main" id="{C1D27DD3-7E31-4E1B-8980-0C4A1B49E4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DB7F9ACD-D151-4066-8D5D-A49D772BF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1F44488-635E-4034-837D-CA29174CC655}"/>
              </a:ext>
            </a:extLst>
          </p:cNvPr>
          <p:cNvGrpSpPr/>
          <p:nvPr userDrawn="1"/>
        </p:nvGrpSpPr>
        <p:grpSpPr>
          <a:xfrm>
            <a:off x="10888450" y="1863876"/>
            <a:ext cx="192036" cy="289932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81FE0F7-05B5-4AE7-8D94-159787CB6F13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0B26F7E-CA88-47DE-B6DD-F48050EF435D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C70C15B-85B8-440C-8269-C20AB55AAE13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F3ED2CF-2D08-471C-B77E-97A020AE4C13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BB59692-5282-4B5B-A482-3266B5E140F5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9552684-4B4C-4634-8DF7-26C3436AA1B4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69686CC1-ED40-471F-8316-2643920F7103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B44CA098-B8B7-4755-B37F-F1794D389EB9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2" name="Round Same-side Corner of Rectangle 79">
            <a:extLst>
              <a:ext uri="{FF2B5EF4-FFF2-40B4-BE49-F238E27FC236}">
                <a16:creationId xmlns:a16="http://schemas.microsoft.com/office/drawing/2014/main" id="{17C06952-9709-477D-8B5C-C442FDB6D78D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3" name="TextBox 62">
            <a:hlinkClick r:id="" action="ppaction://noaction"/>
            <a:extLst>
              <a:ext uri="{FF2B5EF4-FFF2-40B4-BE49-F238E27FC236}">
                <a16:creationId xmlns:a16="http://schemas.microsoft.com/office/drawing/2014/main" id="{628D40A3-A77B-4345-8BAB-2A3718E17D07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4" name="Freeform 25">
            <a:extLst>
              <a:ext uri="{FF2B5EF4-FFF2-40B4-BE49-F238E27FC236}">
                <a16:creationId xmlns:a16="http://schemas.microsoft.com/office/drawing/2014/main" id="{2B996E2A-E45C-4CF2-9A46-BDDE0E212E2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5" name="Round Same-side Corner of Rectangle 79">
            <a:extLst>
              <a:ext uri="{FF2B5EF4-FFF2-40B4-BE49-F238E27FC236}">
                <a16:creationId xmlns:a16="http://schemas.microsoft.com/office/drawing/2014/main" id="{467A6A1E-663A-493C-AA8C-CD93DE13AC15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6" name="TextBox 75">
            <a:hlinkClick r:id="" action="ppaction://noaction"/>
            <a:extLst>
              <a:ext uri="{FF2B5EF4-FFF2-40B4-BE49-F238E27FC236}">
                <a16:creationId xmlns:a16="http://schemas.microsoft.com/office/drawing/2014/main" id="{50357ED8-8408-4F52-AB48-3821231C2FD2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7" name="Freeform 21">
            <a:extLst>
              <a:ext uri="{FF2B5EF4-FFF2-40B4-BE49-F238E27FC236}">
                <a16:creationId xmlns:a16="http://schemas.microsoft.com/office/drawing/2014/main" id="{F0DB99F8-CB26-4949-B295-471812251BD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1" name="Graphic 28" descr="List">
            <a:extLst>
              <a:ext uri="{FF2B5EF4-FFF2-40B4-BE49-F238E27FC236}">
                <a16:creationId xmlns:a16="http://schemas.microsoft.com/office/drawing/2014/main" id="{D34590AF-15FF-41D7-B769-A8D8EAF103B4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7029AB4-885D-49CA-9936-2BE00097FAC6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701FE96-B5AB-45F2-886A-83EA6E120FFC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3965BB2-729F-4485-95CA-CC204B4D7DFB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94B0104-87CC-40AE-A76D-AA2E5D8DDB5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3B940C2-F186-4B0E-AEC8-D6EDB7D77A8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191811C-1562-4A1B-BA69-A50903777DB5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4FC741-32CF-44D1-853A-8A993D34134F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F6A2104-F43B-4734-8C4A-AEAD28593AE5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EE45B8A-B390-45BD-9337-E5EC046FB73B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26F709F4-5149-4F7D-B744-83C2B73C43F1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14811F12-0BC8-4CA7-AAB3-94D462A8EC66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FDB03BA-F7D8-403F-BDF3-01EB444EAF1C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A97C694-0E53-4E98-99A6-B804B11E572B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B93528E-333E-4F2E-8D72-427C89BE984A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D1B6D3FE-7E86-46D6-AB6A-73D271445C92}"/>
              </a:ext>
            </a:extLst>
          </p:cNvPr>
          <p:cNvSpPr/>
          <p:nvPr userDrawn="1"/>
        </p:nvSpPr>
        <p:spPr>
          <a:xfrm rot="5400000">
            <a:off x="11280458" y="1280117"/>
            <a:ext cx="349171" cy="146756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0C484BB-3ECE-4EC3-B279-22076A7FEEFA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FE4C4392-BA76-4B8E-A657-0AABF4D6F362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26F50BF-E47E-4C8F-8EE9-C61585EB6167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B09C4CD-F052-4ECE-996C-0DA8C9B79BF8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B048184-7DC5-475D-B669-9A63E0D358DF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49A9221A-4CCB-404F-9770-3807FF6905B6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5313764-A289-4A2E-B71F-78A6EA238AB3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8492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E2A195-B06D-4584-B1F4-D376ADAD1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964243" y="0"/>
            <a:ext cx="1010500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8AC32FD-55BC-4D74-BEB5-ABF00A2370ED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5" name="Round Same-side Corner of Rectangle 79">
              <a:extLst>
                <a:ext uri="{FF2B5EF4-FFF2-40B4-BE49-F238E27FC236}">
                  <a16:creationId xmlns:a16="http://schemas.microsoft.com/office/drawing/2014/main" id="{1DC511C8-A3D4-4172-AC29-6318751CF23F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9FE1158-FAF9-4774-963A-DE78675DB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9F46EFD-E69A-4638-B878-02AE0DAA3A27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0214C57-FE11-4C28-AAAA-64E6AE49527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786" y="815006"/>
            <a:ext cx="595418" cy="755416"/>
            <a:chOff x="849313" y="-539751"/>
            <a:chExt cx="8375650" cy="10623551"/>
          </a:xfrm>
          <a:solidFill>
            <a:schemeClr val="bg1">
              <a:alpha val="80000"/>
            </a:schemeClr>
          </a:solidFill>
        </p:grpSpPr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99A002B2-28E2-4B83-B338-7D40FDF77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BF66EC53-2EBE-42E6-9947-E224CFDC5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F4A7E190-7CEA-4964-8B98-BB741ED0A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BEBFD207-251D-45FF-B047-4B4ABD06399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2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5E78A3AA-A87A-4366-9F11-EB1B6F235C3C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17314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2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219847" y="17806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2</a:t>
            </a: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9F5BB7-4D21-44D2-8F86-287E052C3996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9212C-AD85-4695-B0B7-90599ED32D80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5" name="Round Same-side Corner of Rectangle 79">
            <a:extLst>
              <a:ext uri="{FF2B5EF4-FFF2-40B4-BE49-F238E27FC236}">
                <a16:creationId xmlns:a16="http://schemas.microsoft.com/office/drawing/2014/main" id="{8D1F6C42-3796-49CA-A851-241F200C3402}"/>
              </a:ext>
            </a:extLst>
          </p:cNvPr>
          <p:cNvSpPr/>
          <p:nvPr userDrawn="1"/>
        </p:nvSpPr>
        <p:spPr>
          <a:xfrm rot="16200000">
            <a:off x="11900597" y="23724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9" name="TextBox 18">
            <a:hlinkClick r:id="" action="ppaction://noaction"/>
            <a:extLst>
              <a:ext uri="{FF2B5EF4-FFF2-40B4-BE49-F238E27FC236}">
                <a16:creationId xmlns:a16="http://schemas.microsoft.com/office/drawing/2014/main" id="{0CF45F4B-4FA4-4C1C-B78A-B7DA5BE65159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859B4109-44C8-4B0C-9D54-97003719C43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492D6A39-4B7E-42CA-84A9-51A8D1698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7E4AE8E-C52F-4786-92C4-A8CD07AE5B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C43B84A-907D-4A45-AFAE-200B374A0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9" name="Freeform 9">
            <a:extLst>
              <a:ext uri="{FF2B5EF4-FFF2-40B4-BE49-F238E27FC236}">
                <a16:creationId xmlns:a16="http://schemas.microsoft.com/office/drawing/2014/main" id="{D9267719-A3D5-44D7-B7BB-7858B2BE0A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0" name="Freeform 13">
            <a:extLst>
              <a:ext uri="{FF2B5EF4-FFF2-40B4-BE49-F238E27FC236}">
                <a16:creationId xmlns:a16="http://schemas.microsoft.com/office/drawing/2014/main" id="{736F3B43-65FA-4BA6-9ED3-6B58EB6DE32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8089D4-3DE0-479C-B70A-0F468A73E86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644" y="2340801"/>
            <a:ext cx="182832" cy="231961"/>
            <a:chOff x="849313" y="-539751"/>
            <a:chExt cx="8375650" cy="10623551"/>
          </a:xfrm>
          <a:solidFill>
            <a:schemeClr val="bg1"/>
          </a:solidFill>
        </p:grpSpPr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2C327F40-275D-4762-A3BE-79A9E7242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F05552FF-384C-4462-B9A4-274DB7B7A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2EC774D9-B666-4231-9A70-E3FD86FD0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5" name="Freeform 47">
            <a:extLst>
              <a:ext uri="{FF2B5EF4-FFF2-40B4-BE49-F238E27FC236}">
                <a16:creationId xmlns:a16="http://schemas.microsoft.com/office/drawing/2014/main" id="{3A82EE88-EFCB-412C-B193-8FB2351C9D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E575963-8E00-48D3-91B3-3D50B84446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B48F10-FF90-47CB-8C01-878C097A71E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96E2474-B71B-42AC-8331-385F49D0F0C2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D8454A-C421-431D-B5B2-7D73E6D8F4A0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F091927-CF1E-47D6-B279-56365BA56FD8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87CADFA-904A-40D9-AE28-5A5CA4109F7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84498DA-7647-42D5-84AC-7BBF7FF82E76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A64C5B2-EA28-4B22-9158-E0D9D4F0C30F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FE6B3A1-DD6B-4A80-B985-5D87A0A78C4F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5F204DA-3A8C-431F-A6B3-5B0E5ECA5DF4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C7F193B-6EFC-437D-B7D5-5409DDFB74C2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9860BEA-3BE7-4FEA-8D5D-34DD84F453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C1CA0428-D6FE-4243-8617-775D6C6DF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8613C690-F5C9-4D4E-9078-C2B24600EB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8D5C4146-3FD7-419B-A728-863F31BE5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854DA53-43AE-465A-9664-8041FD2A9D53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9F31815-0B90-43F4-A93F-6F46122CC770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4DBBFBCD-7190-4665-853A-23B46B482118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DE80828-E7D1-4362-B3B6-904358DAB1DC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A86C3CA-AD01-49DF-8A2F-793FD432EC3F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0444199-A056-4AA2-8E3A-4923C52F095E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D60EC49-5F3F-4D0B-A5E3-3EA85D0B4548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EF7957E7-CB22-40B9-A57B-BD6A3EB2E8AB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CA7CA57B-18B2-4FAC-B6B7-822CBFD5FE7A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10D1BD16-AE56-4734-93EC-A02E35B8EFA6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23286430-EDB8-403C-BCE6-0E3C669DBC21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C44BC3CD-2A7F-4C16-B22F-9AE08E81164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5A1F96F1-FCF0-477B-B9BE-5C103FCEB870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87AA831C-CFCC-4278-800D-9DAE11E24693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166E3618-13C5-4155-AEE3-7928EE58F55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621486CC-57F9-48ED-A209-E1B1EFAB358C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41DC3CC-B982-4B92-B096-7EB8537E01D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4141437-DD98-4981-B283-8F657E4FFE63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AA7E748-8888-4AE9-AD29-0F85DFCEE343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BBBFA89-8F6E-4820-B30D-664ECEF15C38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2D226A4-0536-4B4B-AF11-69CDD9C53DB3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E640A0E-7042-4ED3-BFCB-78196572E0B4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02339B8-6901-40BB-BB24-02A76C95F7FD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1C9E01B-E3A2-462E-8E6D-B6CC4C94F172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1BAED15A-273C-42EB-B716-C363B8620066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48924449-CFF3-460F-8D34-F32352897706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DF17A75E-96DE-4C07-A931-A2AF8CB22387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D3C0C95-346E-4153-AFF1-8A629E4D79DD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5E6522-6B95-446B-A41D-FD6B06AF3A69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9FDC53D-71C6-4307-BE59-986DE8044350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5CDDF074-1B46-4849-BFED-0EF4B88DB094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EA0EC28-4562-4E01-87A1-872E5CE4D031}"/>
              </a:ext>
            </a:extLst>
          </p:cNvPr>
          <p:cNvSpPr/>
          <p:nvPr userDrawn="1"/>
        </p:nvSpPr>
        <p:spPr>
          <a:xfrm rot="5400000">
            <a:off x="11294468" y="1749579"/>
            <a:ext cx="349171" cy="1439541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15C552E2-5F7D-41EB-BC90-99EC6DE2F637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F0FA059-0139-4FA8-B0F2-89DE10D1D4F1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A8393FD-697E-4691-B5B4-7C401D74698D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C83DCAD-965C-41FA-931A-F8BC730227E3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30648040-0A2E-4BCD-BC09-FC3F5024C190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8CC9202-3A52-4BD1-B3B5-03B1BB67B0A6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60007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2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219847" y="17806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2</a:t>
            </a: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DFF544F-A125-4A64-A07F-023F10D0D5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319944" indent="-319944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274238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9F5BB7-4D21-44D2-8F86-287E052C3996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9212C-AD85-4695-B0B7-90599ED32D80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5" name="Round Same-side Corner of Rectangle 79">
            <a:extLst>
              <a:ext uri="{FF2B5EF4-FFF2-40B4-BE49-F238E27FC236}">
                <a16:creationId xmlns:a16="http://schemas.microsoft.com/office/drawing/2014/main" id="{8D1F6C42-3796-49CA-A851-241F200C3402}"/>
              </a:ext>
            </a:extLst>
          </p:cNvPr>
          <p:cNvSpPr/>
          <p:nvPr userDrawn="1"/>
        </p:nvSpPr>
        <p:spPr>
          <a:xfrm rot="16200000">
            <a:off x="11900597" y="23724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9" name="TextBox 18">
            <a:hlinkClick r:id="" action="ppaction://noaction"/>
            <a:extLst>
              <a:ext uri="{FF2B5EF4-FFF2-40B4-BE49-F238E27FC236}">
                <a16:creationId xmlns:a16="http://schemas.microsoft.com/office/drawing/2014/main" id="{0CF45F4B-4FA4-4C1C-B78A-B7DA5BE65159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859B4109-44C8-4B0C-9D54-97003719C43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492D6A39-4B7E-42CA-84A9-51A8D1698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7E4AE8E-C52F-4786-92C4-A8CD07AE5B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C43B84A-907D-4A45-AFAE-200B374A0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9" name="Freeform 9">
            <a:extLst>
              <a:ext uri="{FF2B5EF4-FFF2-40B4-BE49-F238E27FC236}">
                <a16:creationId xmlns:a16="http://schemas.microsoft.com/office/drawing/2014/main" id="{D9267719-A3D5-44D7-B7BB-7858B2BE0A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0" name="Freeform 13">
            <a:extLst>
              <a:ext uri="{FF2B5EF4-FFF2-40B4-BE49-F238E27FC236}">
                <a16:creationId xmlns:a16="http://schemas.microsoft.com/office/drawing/2014/main" id="{736F3B43-65FA-4BA6-9ED3-6B58EB6DE32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8089D4-3DE0-479C-B70A-0F468A73E86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644" y="2340801"/>
            <a:ext cx="182832" cy="231961"/>
            <a:chOff x="849313" y="-539751"/>
            <a:chExt cx="8375650" cy="10623551"/>
          </a:xfrm>
          <a:solidFill>
            <a:schemeClr val="bg1"/>
          </a:solidFill>
        </p:grpSpPr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2C327F40-275D-4762-A3BE-79A9E7242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F05552FF-384C-4462-B9A4-274DB7B7A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2EC774D9-B666-4231-9A70-E3FD86FD0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5" name="Freeform 47">
            <a:extLst>
              <a:ext uri="{FF2B5EF4-FFF2-40B4-BE49-F238E27FC236}">
                <a16:creationId xmlns:a16="http://schemas.microsoft.com/office/drawing/2014/main" id="{3A82EE88-EFCB-412C-B193-8FB2351C9D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F9EA8B1-0111-43D7-AEF0-D85EF3A4469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D15D6B4-DBF1-45CF-9775-14A09C2E6D8F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BA93C91-7CD2-46D5-95E9-66E59FF5259F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E495CF7-5030-4016-B702-86E5A25C7B9A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BC83CC9-C55E-45DB-BDD9-50510C32D76A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4F73997-2493-4C21-A1CE-755B0A59F049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CC828B3-52DB-4072-9E15-7037E725AA47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ED33D43-407F-44E3-9962-79648249DDBE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B653602-56E9-49AB-A977-A2EA4A59B2A6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36FE2A8-A4F9-43A1-AB41-BD9EF0969048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C529B5-EB70-4A59-83DE-33364233EA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9F287BC4-2CE1-44A9-8779-58DD78AF21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9EA44515-F5D3-49B0-9AB7-F3115CF248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B920F19A-7A02-4A96-AD87-024E923E88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AF2253D-B9BF-48F3-BD6A-E1B7CA5A5ADE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FFDF02C-DF58-4168-BE28-A851760D383A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CDEB8D5-1067-4BE8-BD2F-655D1F493224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57C9D5C-BBFF-43F0-BF50-A5F99932B36D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AF641D7-0446-4C63-9E73-2F3F563CECE8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2DF6521-0068-4FF9-8FA0-93F51F778B2D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4D7A8E7-2AF7-4A88-8FDE-2FC4151EF3DF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058FDACB-8AEE-446B-95D1-EE54F55E579D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A3BD00AC-C018-4D2E-A539-79CE47E61716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5D53C858-7688-4B7F-832E-4A1EF935FDB8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0EA4F919-54F4-467A-9590-05EC2A19368D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F6AA9EF8-DA72-4E18-939A-C8F25189BB8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0E250FB8-D698-421B-9AF7-D0D8D4235A7A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A695CB45-1455-43ED-8BD4-E24BBE2561C9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D755632A-FA27-436E-825D-AB9EA69CF11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CB9EDCFA-4CDB-45D0-8379-FA13222D58B3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CD150AD-F588-4B6A-B24A-FCE885EA0122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8D840E6-EE07-4977-A71B-9CD79C780AE3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0B7DF32-6EF3-4BDA-8CE7-99A0D0BFA1E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215A66D-9329-4625-B47E-06622351D384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9678015F-876E-436B-972B-A8B9AEA0DFCC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4D7A1F4-3420-4DEC-B588-95E3834C360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C052556A-524E-4CD2-9223-34EE2E0DCE55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9CAFFE1-7FD7-4DDE-A5F4-552FF770C762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470043B-08C8-47AC-B0F2-662F66A78E6B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A14CFC8-51D3-4E91-9338-8358BAE5F02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DC3390DE-F766-4815-B3CE-1125EC325CBD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4A56DA1-3FD6-4CC0-A33C-ACB80C6AC528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6F15241-1A4B-4169-B67F-B11A6800AAF5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F455ABD-3535-4691-BE12-11C5EA8DADA8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DE6280DC-7C55-44B2-B7D9-180F2E81D1D0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06AA4F4-8FF1-437C-8D66-E94BEF527784}"/>
              </a:ext>
            </a:extLst>
          </p:cNvPr>
          <p:cNvSpPr/>
          <p:nvPr userDrawn="1"/>
        </p:nvSpPr>
        <p:spPr>
          <a:xfrm rot="5400000">
            <a:off x="11290966" y="1746076"/>
            <a:ext cx="349171" cy="144654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ED8D1FC8-7E6F-4C7A-96EA-96A64828403D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A0E055D-5575-437A-9C0D-E4EE9B628842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3D69A50-4FE0-43AC-B281-274172F9069A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4CF9FC9-CD7A-4BAA-9A3B-375230E6FBF3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2BC8ACC2-86D9-4148-B601-7012155C5CCE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05FC9B3-391B-4404-BE72-9C5A4A6FC095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2211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indoor, computer, people&#10;&#10;Description automatically generated">
            <a:extLst>
              <a:ext uri="{FF2B5EF4-FFF2-40B4-BE49-F238E27FC236}">
                <a16:creationId xmlns:a16="http://schemas.microsoft.com/office/drawing/2014/main" id="{1A3DCB80-7F74-4A0A-BA1A-7954F35DF4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769030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4640E8-0A8E-4A47-B323-45AD081BA19B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1B99FD2C-9929-4C94-BF13-663FAC85CCE3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A722360-E8DC-4070-8676-D1B95A9C9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89A5454-E752-4D46-A097-3F34A35AF37F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583B3E3-AF2A-48A5-AEAC-94F2B23DBB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3986" y="790022"/>
            <a:ext cx="624064" cy="807824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2E21C48-28C0-4D68-B972-78343889914A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273475-FB0D-42E1-9389-988A7E4D15D7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063F85C-C386-4DCB-8570-D0FD68BA1F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1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BA54BE7F-C394-49E6-AEFD-6D5A6812E6E5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03491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3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219847" y="22332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3</a:t>
            </a: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C3904B-CE73-4C24-9EF4-5FECAD4208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6A2FFA-BBD2-4542-BBAD-54FF209B49A5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FAFB18C5-1232-4E67-8F87-AEBE89FD8A11}"/>
              </a:ext>
            </a:extLst>
          </p:cNvPr>
          <p:cNvSpPr/>
          <p:nvPr userDrawn="1"/>
        </p:nvSpPr>
        <p:spPr>
          <a:xfrm rot="16200000">
            <a:off x="11900597" y="28250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8CABDE33-8E8E-4345-9CCB-C5BA993578D0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DC38FC2B-1F89-4A9F-8412-8963932859D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279586A-EBC7-462F-A704-370F5F17F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879FA47-52AD-4596-89A6-60C8133AC0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4DC0EE-7736-4DAB-BB33-450665FCDA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2184A7EF-088C-43DB-86F2-8FD042E36E8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A3B4E5E-45C9-4036-A49B-40C634649A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AD5CA17-A521-4C58-AAF0-AE32337323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6DCB26E7-0626-4F22-91D5-68959FE51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C349A7A9-667D-4568-9A9C-9875040D5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C103A8E-93E4-43FF-9868-CFD79DB750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4F40BA5-020F-4C82-BE5F-CDD42E86E6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04F2C159-D037-4D4E-8403-788EEB4EED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A1D2FC5-006F-49B1-B5BB-BE35ABDD45D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E1FBDEB-E485-4091-8F5A-A97CEB2E1B63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FBD6B83-88F8-4FC4-AA21-BF7003CDF3D4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13131A3-3EC7-4A32-B2EB-D63701BE2263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75E6DBC-38F0-465F-AA03-108149F4CF26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45EA8E2-4F58-481F-B7A2-59B549D2395A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9A84BF6-8C6D-4595-8E02-E9F78A590B52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CDAB92E-C6C8-47B2-AF8C-252A92D9401D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4BDE8B8-C690-400D-9707-88FAFD998D43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82B0715-25D7-43D5-8A59-39A6EDA48AFF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A7E1647-B14F-4A08-88EE-6D92419753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7627C785-0197-4021-9CDC-DAE452858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0089F6A-7CDB-46C8-BBE0-22E40D47EB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5F54AA0-60BD-4775-A572-C3F8C7699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A906A84-02D9-4AFC-BAF7-CB4696150825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388970D-6230-41DA-98EA-21066E4CE894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3A06D71-C338-4611-BA99-750D8F46A560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323676F0-43F6-40E3-8D08-514E17FB7C5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8532A0D-CCFC-4DA7-91B7-6500E13F7153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9C93D18-9CEB-4A6E-8DFF-78B16A7A9917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61D15C6-423C-49E9-9A36-73A26748BB6D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7BFC06B4-CF0C-461E-8647-EABCAE33AFB9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2CAA1749-42BC-4B31-9B95-633D7F927BC8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4B640A06-7886-42E3-A7B2-2789DD5CAE2F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99490612-57AC-4581-A7A1-8A8893598E10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41A8421A-67DB-45B9-BF16-4E65F06E8F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4272D28F-7763-4820-A7BC-937B242692BA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64EC0E17-760E-4A77-909B-3C99807293FF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708A3625-DCA8-43D2-B530-4C27D9C901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D31E0045-F8D3-4355-940A-870BE4F6B34A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5E0D66C-6419-45CC-A2E5-4CFC90122714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8EEFB3B-6135-4F5F-AF99-F1A5F62D9E1D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34CF856-6C45-4B57-A6F2-3F2258767476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DA57BD4-2DAF-4A5E-AD25-BB52E42B176A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D9DB726-9D6B-4CA3-A527-F523FC8C0DA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0163FAB-4E0D-4C3F-A4BE-51A1C285D0C6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1E599B3-CA5A-4CC8-A024-10D70573BAA3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5A600C5-DF88-4531-A67F-2D86CD2F3DB7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F064192-7192-443D-8096-7CCA0A4BCBB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269D13D-5557-4BF3-B25E-C0B6C18DA1F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7033DE4F-6879-47C8-8CDE-DE05502ADB59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0A3A334-57D5-4D3D-9750-80A777A52A6C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7D2E04C-F49A-4211-AEDD-91DC3B04BD0A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A942888-4E91-40BA-BEC4-BA052A42A74B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8EF77A86-BEEF-4FD2-9DFA-8A5B26D43EE1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6E05199-28E5-482E-81CA-812ED5293D71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92003FC2-AFA2-4368-AA18-ACFFAFCAC529}"/>
              </a:ext>
            </a:extLst>
          </p:cNvPr>
          <p:cNvSpPr/>
          <p:nvPr userDrawn="1"/>
        </p:nvSpPr>
        <p:spPr>
          <a:xfrm rot="5400000">
            <a:off x="11283961" y="2191599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C3300B-AED5-461C-B345-F4D20DC25F07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75197F1-4D4E-451F-A363-B1D56B5D5814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B3E74C7-A88B-4539-86FD-13A23D788F02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CD0D75CD-CC5D-4DF8-8561-BD2EA3500CE4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267F427-DE88-429C-A0BC-B3659930E9EC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7807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3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219847" y="22332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3</a:t>
            </a: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336F2850-D7CD-47D1-8AA1-003DA4FC78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C3904B-CE73-4C24-9EF4-5FECAD4208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6A2FFA-BBD2-4542-BBAD-54FF209B49A5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FAFB18C5-1232-4E67-8F87-AEBE89FD8A11}"/>
              </a:ext>
            </a:extLst>
          </p:cNvPr>
          <p:cNvSpPr/>
          <p:nvPr userDrawn="1"/>
        </p:nvSpPr>
        <p:spPr>
          <a:xfrm rot="16200000">
            <a:off x="11900597" y="28250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8CABDE33-8E8E-4345-9CCB-C5BA993578D0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DC38FC2B-1F89-4A9F-8412-8963932859D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279586A-EBC7-462F-A704-370F5F17F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879FA47-52AD-4596-89A6-60C8133AC0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4DC0EE-7736-4DAB-BB33-450665FCDA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2184A7EF-088C-43DB-86F2-8FD042E36E8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A3B4E5E-45C9-4036-A49B-40C634649A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AD5CA17-A521-4C58-AAF0-AE32337323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6DCB26E7-0626-4F22-91D5-68959FE51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C349A7A9-667D-4568-9A9C-9875040D5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C103A8E-93E4-43FF-9868-CFD79DB750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4F40BA5-020F-4C82-BE5F-CDD42E86E6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A5D3128-35B2-43D4-BCF3-094CFDCF6B3B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51DFE30-C571-48B0-AFB0-2514604058AC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68CF253-1993-405E-BB8B-7C03EF9C4401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1F6DEA3-64B2-44C9-BCE8-6128477C3E3E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8BAC219-D468-4E8F-B216-6ABE6C2DF6D8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43847FC-5559-43D1-8E36-DE9CD9FDB278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609645A-AFAE-4F7D-BB20-4B08D4E7DEED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389DD10-98C1-4EF0-BF7F-1A2B944737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D1016259-178B-468C-AD8D-0A7E7A1BE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C424F4EA-2EFF-47B6-8DE3-D99536ACA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AD53AE3C-DB99-4C7F-AC71-CF557975A6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7B430DC-E8DC-4EE1-B83B-83940D72F26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EE471DF-BFB0-4727-A9CA-740173FA8CDC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36117D2-3E9D-4E65-A4E6-3E6664A90EE7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B26A1C3-7FD4-429D-AB2F-238ABE748B02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41CD92CE-7550-4BC1-9EB1-518B7EFF0A89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8B1211E-628F-43CE-A985-745BC614ED58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D6BD5B54-B1F7-429A-8D9C-1052A68343F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CD4E737-CD2C-4333-9930-ACA1F7D465CF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88618CA-5732-4A12-9C65-EDAF4D6B16CC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71390C6-3178-4A25-BDE7-D5DADE814311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84B29423-0FA6-45B6-9235-B6C5771AADB9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9AB488E1-34BE-4E5B-BE14-9756F649CE90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A41FE126-628E-4A2A-B35A-D8764B4C5828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C8589D74-7D70-437A-B23F-92110637B992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5" name="Freeform 25">
            <a:extLst>
              <a:ext uri="{FF2B5EF4-FFF2-40B4-BE49-F238E27FC236}">
                <a16:creationId xmlns:a16="http://schemas.microsoft.com/office/drawing/2014/main" id="{FF90A827-6A74-44A8-8D61-A435DFE7EAA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6" name="Round Same-side Corner of Rectangle 79">
            <a:extLst>
              <a:ext uri="{FF2B5EF4-FFF2-40B4-BE49-F238E27FC236}">
                <a16:creationId xmlns:a16="http://schemas.microsoft.com/office/drawing/2014/main" id="{3B8DC362-09AB-4AA4-BB31-78083FE2CB7F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7" name="TextBox 76">
            <a:hlinkClick r:id="" action="ppaction://noaction"/>
            <a:extLst>
              <a:ext uri="{FF2B5EF4-FFF2-40B4-BE49-F238E27FC236}">
                <a16:creationId xmlns:a16="http://schemas.microsoft.com/office/drawing/2014/main" id="{278C707B-57C6-4486-98BC-EA2E3E1C0083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81" name="Freeform 21">
            <a:extLst>
              <a:ext uri="{FF2B5EF4-FFF2-40B4-BE49-F238E27FC236}">
                <a16:creationId xmlns:a16="http://schemas.microsoft.com/office/drawing/2014/main" id="{E7397726-9BF9-40DE-949C-7BD65C5D3D7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2" name="Graphic 28" descr="List">
            <a:extLst>
              <a:ext uri="{FF2B5EF4-FFF2-40B4-BE49-F238E27FC236}">
                <a16:creationId xmlns:a16="http://schemas.microsoft.com/office/drawing/2014/main" id="{B0CAE1AD-DC51-417F-AA25-272308E0F4C9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3C21142-4F5E-4352-9873-DCC26E5D18CB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AF7A768-1118-420C-8782-619CA1A21BE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8863D26-858B-4D98-858B-414C4A1856B7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34F77F76-EB91-4937-B045-CC583AC23E12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1715608-F576-4FC5-9DB7-EC31EDCE5C77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248881B-55A6-4917-8D97-74705219309C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8505433-DEBA-432D-A0FD-6C349441DDAE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39DB633E-2D30-4ECF-8822-C26D2BB9547B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66E42EF-A980-4170-BE5A-4F731B787D2E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B54C23CB-8948-4C6B-9B93-48B062F57416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3CF95FB8-5FF5-45CB-BAAA-4B2B4DC38798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98AECB6-AB61-4159-B207-02570AEDE01F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2D829BC-EB06-4764-833C-C4256A7E0760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661F1A-9947-49F1-AB24-8C912A363F59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C78A4F22-CF8B-4D0E-AAF8-9250E500FDDF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4FD5665-9D76-4308-AC76-302AA1B65B9A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0080881F-AEA4-442D-917F-1DF3818B86A1}"/>
              </a:ext>
            </a:extLst>
          </p:cNvPr>
          <p:cNvSpPr/>
          <p:nvPr userDrawn="1"/>
        </p:nvSpPr>
        <p:spPr>
          <a:xfrm rot="5400000">
            <a:off x="11283961" y="2191599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C276563-C7D2-4F6D-B1B2-4267813AD958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CA02637-FE53-4381-A12C-CF1C0AF00943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D08F48D-F031-4320-93D8-35E0F3F9D57E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F398BF26-8474-4F60-A96A-1F2C2981AF03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F3EC765-6674-4F9C-864F-EB2F509D0D55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89700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oup of children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06C30DB0-BE47-493C-9152-9592CE6AB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843403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1267FDC-EB5C-4931-9996-E0F6C9FC242D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1686C165-2403-4ADD-B4C0-B08A2DF50C84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977FD497-5EF7-49FA-A606-2FF689DDF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D37F9CF-184B-4F29-9D4B-F527F1071E7C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reeform 47">
            <a:extLst>
              <a:ext uri="{FF2B5EF4-FFF2-40B4-BE49-F238E27FC236}">
                <a16:creationId xmlns:a16="http://schemas.microsoft.com/office/drawing/2014/main" id="{A5988B40-97BC-4CA3-AD04-15B9AEFA53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48708" y="811033"/>
            <a:ext cx="763722" cy="763812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99376E9D-E304-47D2-8DF2-A4D323261B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46D57E63-DE40-4BE4-B31A-F30F87C3F813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99745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74442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4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219847" y="26858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4</a:t>
            </a: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8CDE7-42EA-4BE5-B8C2-0F3625831A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773BF3-CAF4-478F-BBE0-5EE3C49BBDCD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521D265E-D4C9-4CEC-AFA4-12A93048B27C}"/>
              </a:ext>
            </a:extLst>
          </p:cNvPr>
          <p:cNvSpPr/>
          <p:nvPr userDrawn="1"/>
        </p:nvSpPr>
        <p:spPr>
          <a:xfrm rot="16200000">
            <a:off x="11900597" y="32776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11151554-5DEB-49E1-B789-2B99EDC34D78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22A7C8C8-D286-4CC1-95EF-D91F4A91438A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B5F63BD-BA01-42DE-92FA-E8A21AA2F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4933FD0-9D2C-48A7-BB09-96AFAF27CAF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AFA73B-0310-4B71-A94F-9A8D2B395F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4D15CC26-757E-4EA9-8DAE-220469240F7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6E217B9A-A9EE-4490-92EC-2D5721BE4C9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1EAF592-3852-4489-AF2D-35A1C88FF7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41A74F2A-7FE3-4A69-9995-41C2AB2E6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A8423B7-3ABB-45C5-969F-98D04AF82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F175EB21-7FF3-4A0A-ADC2-163CF97AA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082F9FD-8004-4B7E-B87F-66BF161D2E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4932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50CD8C3-FA54-4C2F-A5E2-6A7E4A0613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96D1CD8-43EB-4276-844E-7DCD5C3309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7F56779-8D7D-4106-8C30-FD23556E210E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914E9CB-06CF-4337-A7DB-31066CD53908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7B16E51-543E-4540-BA55-AB802A4C1B04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D6A544-1BEA-4C2B-BCEC-3351D4B03A07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796EC2E-A832-4BD6-8F41-FD51EADE73FA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377978D-531F-4D3D-BE40-EEDD3B202418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336B765-0149-4A39-9971-2044240E78BD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F73B96C-3375-4287-A748-54335FECD49D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65930F9-43C3-48DB-B93B-00F773535094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4430067-67DB-4F1B-A143-B749D2A37A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66573E40-FA2F-47DF-8BC3-9573F8B6E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B5A805F7-1B4B-45E6-8ACD-5B394FE6D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D9C7BC4E-63AF-4730-B7C4-36CF37B7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47F8FDD-00BC-4416-84A7-66394B26F0A7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FECF884-A551-4892-82A3-4F205B92FA39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698D8AB-7292-4201-A43F-0CF8FEE97602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3DC1848-3073-44BD-923A-0CB1B7E2ECF8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0A3444F-A692-4C09-AFFD-8F5310931572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76B2BD5-B577-4992-BEFC-F703A1C09D3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550F16A-1DB1-4370-A29A-B1D6AA32CC65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D07A0774-2968-43EB-91AF-A026DBDF0740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59A20FD5-39E3-4408-A504-32F448E4C185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28DE0808-A834-4B73-85EB-AD77EF4D989B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D3D9C2AD-2FDA-4CA7-908F-7299107B04BA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12F456BC-D071-446F-82A7-D8CFAD7BD92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330F24ED-490B-402A-8EFB-1223DF0A9A15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D667B3AD-769D-4442-8531-E43E5DD903F0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09D9A3D3-3B97-4B59-AC85-418FBE6EBF2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CAF2EB34-4DAD-4406-BD2D-4C6FC264725A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4719336-1129-4AFA-8D58-68655E1B9318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BAA8A8B-56A7-4074-A00A-13167853795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1B20B7D-F3C8-4A30-B56B-8E98C64631F2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18F20E5-AC16-478F-97E6-79D0FD13F241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424BF2F-1A60-4A50-B2FC-486E343AA92B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97E2632-4510-4FAA-AEAD-F9842E7BB28A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E1E34B0-A260-4DFD-AF4D-1A7A93CE78E8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42E6C51-1670-4C3B-ADDA-966DD671EE1F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6523AAB-99DD-460A-B89C-1BD846F30C62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06CF78C-7B1A-4A8B-82CA-FFA443A4AB55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2302694F-A777-4838-A566-486DD492C93D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C7576A3-9C4E-4444-9D98-E710C68A9A0E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12F3E9F-8B61-468A-B831-ED84732BEF30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EB9F1B8-2902-42DD-A184-7050BE4605E5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9901EF8C-21D6-4865-995F-6D7759117257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AB8D31C-E8BC-42CD-84AD-68E1BDADE853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34274CE9-2C0A-4242-9B98-06A99CDB4B40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2EFA6C2-13B2-465E-A917-F1D7A9E3FB8C}"/>
              </a:ext>
            </a:extLst>
          </p:cNvPr>
          <p:cNvSpPr/>
          <p:nvPr userDrawn="1"/>
        </p:nvSpPr>
        <p:spPr>
          <a:xfrm rot="5400000">
            <a:off x="11280458" y="2640624"/>
            <a:ext cx="349171" cy="146756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664F1CA-1C26-45F0-97FE-8010FB68F493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9D3AF75-61FE-430C-8C19-988045CE732A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BEE0973E-2EC8-4285-A3BF-EC7D1663F5AF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337AA4-B0F1-47CB-8B33-27503F73B4FE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93129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4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219847" y="26858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4</a:t>
            </a: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8C6FC7E0-B0AC-4A9E-BEC3-8FE3913052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8CDE7-42EA-4BE5-B8C2-0F3625831A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773BF3-CAF4-478F-BBE0-5EE3C49BBDCD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521D265E-D4C9-4CEC-AFA4-12A93048B27C}"/>
              </a:ext>
            </a:extLst>
          </p:cNvPr>
          <p:cNvSpPr/>
          <p:nvPr userDrawn="1"/>
        </p:nvSpPr>
        <p:spPr>
          <a:xfrm rot="16200000">
            <a:off x="11900597" y="32776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11151554-5DEB-49E1-B789-2B99EDC34D78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22A7C8C8-D286-4CC1-95EF-D91F4A91438A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B5F63BD-BA01-42DE-92FA-E8A21AA2F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4933FD0-9D2C-48A7-BB09-96AFAF27CAF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AFA73B-0310-4B71-A94F-9A8D2B395F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4D15CC26-757E-4EA9-8DAE-220469240F7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6E217B9A-A9EE-4490-92EC-2D5721BE4C9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1EAF592-3852-4489-AF2D-35A1C88FF7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41A74F2A-7FE3-4A69-9995-41C2AB2E6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A8423B7-3ABB-45C5-969F-98D04AF82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F175EB21-7FF3-4A0A-ADC2-163CF97AA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082F9FD-8004-4B7E-B87F-66BF161D2E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4932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C106793-1DEC-4336-A347-1FFD29F693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9AC832F-978C-4D96-B459-50244FC2A676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C1A83BE-1AB1-4B73-9878-B4EABDF8FB97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F5C0F19-F664-4A1B-885D-76719D06EA96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D2D445-D984-4E33-B0E7-7614044BDF94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54CE34C-03D3-4BAF-8F94-7EBDF4E1C21C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7154E-1879-4D18-B66F-D412BB37DF43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E4A5DBD-D19F-4467-85AF-104DBEA22ED0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FF4B8B8-B5FA-465E-853B-F246E25C08DA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614AD2C-7BAA-4C86-B409-6AD47CB4627E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6172F45-6E64-4F9D-A1A6-B1D688CFAD5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79BBE1D4-AC36-4866-9132-1D89F7D08B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EA264CC9-AB8B-4702-84F2-859A7B2211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8099FD57-BAF1-4910-834F-900DA522C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5B304B2-E2DE-46B4-BFE8-32E3A3451DB3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EBC6676-7196-4E06-B859-7A89E5063DED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B199456-02F3-431E-8FE8-9542063BED5E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8E50F5E-3AFE-4BAC-B591-3FE21982BDEB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F2690A3A-A29D-4E37-BE91-E4210E7E083D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18867D-5017-45C4-9716-99E14715FBF6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82D64F2-09BD-412B-BE6C-9D783FE4E047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72" name="Round Same-side Corner of Rectangle 79">
            <a:extLst>
              <a:ext uri="{FF2B5EF4-FFF2-40B4-BE49-F238E27FC236}">
                <a16:creationId xmlns:a16="http://schemas.microsoft.com/office/drawing/2014/main" id="{97E2501B-FFFF-44D8-9459-53482AA604D6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3" name="TextBox 72">
            <a:hlinkClick r:id="" action="ppaction://noaction"/>
            <a:extLst>
              <a:ext uri="{FF2B5EF4-FFF2-40B4-BE49-F238E27FC236}">
                <a16:creationId xmlns:a16="http://schemas.microsoft.com/office/drawing/2014/main" id="{E9C11F42-54F1-4462-AE2E-ADC449E6441F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4ECC2310-9155-4172-BCAB-3C8FBF8B2515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6B14CAD6-F1F7-4376-9B23-E30FCB93297A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6" name="Freeform 25">
            <a:extLst>
              <a:ext uri="{FF2B5EF4-FFF2-40B4-BE49-F238E27FC236}">
                <a16:creationId xmlns:a16="http://schemas.microsoft.com/office/drawing/2014/main" id="{30E6CBC5-7415-4979-84AD-17D6A56DF9A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7" name="Round Same-side Corner of Rectangle 79">
            <a:extLst>
              <a:ext uri="{FF2B5EF4-FFF2-40B4-BE49-F238E27FC236}">
                <a16:creationId xmlns:a16="http://schemas.microsoft.com/office/drawing/2014/main" id="{81E4A382-64F1-4D48-8F5A-3C6AB90BD51E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1" name="TextBox 80">
            <a:hlinkClick r:id="" action="ppaction://noaction"/>
            <a:extLst>
              <a:ext uri="{FF2B5EF4-FFF2-40B4-BE49-F238E27FC236}">
                <a16:creationId xmlns:a16="http://schemas.microsoft.com/office/drawing/2014/main" id="{5E48C19C-B262-45E8-A8A4-4FEB6A09676D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82" name="Freeform 21">
            <a:extLst>
              <a:ext uri="{FF2B5EF4-FFF2-40B4-BE49-F238E27FC236}">
                <a16:creationId xmlns:a16="http://schemas.microsoft.com/office/drawing/2014/main" id="{F34F96A5-452D-4CB4-9BBC-D8E6F14A2A0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3" name="Graphic 28" descr="List">
            <a:extLst>
              <a:ext uri="{FF2B5EF4-FFF2-40B4-BE49-F238E27FC236}">
                <a16:creationId xmlns:a16="http://schemas.microsoft.com/office/drawing/2014/main" id="{DD0279D5-CE91-44E9-9F68-F067F987A15E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5C3C3AF-64DB-451D-8179-24E51CA1B3AD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3BFE4DD-DF56-4F8D-928C-5310970BB24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370E59D0-FC44-4A5C-B038-A72091D82D2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81945B9-D3E5-46C3-B359-A23B4B4B92AC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10BDEAE-4E01-4FD3-99DC-2E1A65B3D373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8C4DC23-C34A-4D66-A0AD-89039003CD0D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C9FA6F5-BFD8-44C0-AD2F-2AEA561BD3C7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B929321-FF6B-4937-B157-F92EB78962F9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851FB48E-E259-40B9-9414-B96E82648D2A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35916527-C17D-467A-AD7D-99DA3F1D85EA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5D682633-AE96-4155-9A56-411210A71044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534BD1C-6ADA-42CC-8C11-70812A6BF846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051F889-AA4C-4A17-B297-689FB50663B7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BF5BD5C-C11B-4EE3-AA7F-422C395B3FEE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C6C8D6C3-B0FE-4F2C-9314-03E25A352C4B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5682B85-7178-4016-AABD-FCB2E4029139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D5861B3C-CCC9-4E3E-8F74-B48904F7FF04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01EAD8-2A59-4244-957C-85D9F23D2DAF}"/>
              </a:ext>
            </a:extLst>
          </p:cNvPr>
          <p:cNvSpPr/>
          <p:nvPr userDrawn="1"/>
        </p:nvSpPr>
        <p:spPr>
          <a:xfrm rot="5400000">
            <a:off x="11276956" y="2637122"/>
            <a:ext cx="349171" cy="147456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C9863FF-F37B-44B3-A61E-F2E17AF2D994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CD01D63-53A0-4BEC-998E-202DB6DBFAD6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A980C901-34F0-42FB-8A7A-9A30F63D22E4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C345388-9463-4BAB-8203-59DC45561537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82021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&#10;&#10;Description automatically generated">
            <a:extLst>
              <a:ext uri="{FF2B5EF4-FFF2-40B4-BE49-F238E27FC236}">
                <a16:creationId xmlns:a16="http://schemas.microsoft.com/office/drawing/2014/main" id="{228619C2-564A-4C62-9B37-B630D03386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0721" y="0"/>
            <a:ext cx="1028831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A32C96-369F-4C04-8D2B-8ED8BF5D783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17DCFF76-7DF9-4CCE-B3C6-050B6BEDCFAD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97CD566-0489-4EC7-89A7-73E2A3E12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751ACED-9F9E-4A11-983F-1DD16E70A4CA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89931A2-7723-4641-BC7C-EB6CDEC8F58D}"/>
              </a:ext>
            </a:extLst>
          </p:cNvPr>
          <p:cNvGrpSpPr/>
          <p:nvPr userDrawn="1"/>
        </p:nvGrpSpPr>
        <p:grpSpPr>
          <a:xfrm>
            <a:off x="904729" y="845789"/>
            <a:ext cx="696874" cy="651644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53E68B9-BD0D-4D6F-8BF5-1F9108225B19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5C3F16E-CC6F-44D7-A18C-E509D791F900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D46BA99-DDD2-4574-9804-830F0408DAFD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7D5B636-0A96-46C0-B84A-EF4C55285969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6E369CE-614C-4095-AF2F-18B8E3FB7A44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44FD065-BE81-43DF-9411-567EDEF13433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1C36271D-9026-4499-AB04-1ED81376D28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5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EC41CA30-6E1C-4D19-A3D2-6503189666EF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32047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5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219846" y="31384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5</a:t>
            </a: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21BD9-15AA-4E46-A09A-6D8231B28463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B1449B-5566-46D4-AA07-1970E49A3898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479416EC-B0EA-486C-ACDC-AFA6962F7D55}"/>
              </a:ext>
            </a:extLst>
          </p:cNvPr>
          <p:cNvSpPr/>
          <p:nvPr userDrawn="1"/>
        </p:nvSpPr>
        <p:spPr>
          <a:xfrm rot="16200000">
            <a:off x="11900597" y="37302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7564FD85-E8F7-40CC-865B-2B7F23ED7553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AB532DE3-09E3-4977-B2BA-B154047EF486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C02CB5D-4F9B-4643-BEEA-FC8FEFBD0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5BC9745-69D5-4B02-88A0-4AF73742F2C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4E48C90-5A79-45F2-8DB1-D9BD44CF16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116039CD-907B-4766-A7DA-4530E1BB60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3BEAF0CF-888B-4A1C-B5E3-87994D9F099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AFCD516-351A-4097-B1BA-A172B5E93E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8878A49-A261-454F-AFDB-B76D39AA6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393A0745-5BCB-4755-BD00-F21A2AA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ED7F239-84D8-424D-BA45-AE2EBD350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823260E-0E3A-4261-A46D-E2190AEDC93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53FE790D-DA37-4012-B5C0-40A06D02AC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FDE1F4F-5619-4FCF-B766-08B11159813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FA215D6-E455-4877-AFAD-5A05889B191D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F9D5F03-D887-437D-926D-AA3E6C29283D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06DB959-B1C6-465F-AF90-6AD0880B62D1}"/>
              </a:ext>
            </a:extLst>
          </p:cNvPr>
          <p:cNvGrpSpPr/>
          <p:nvPr userDrawn="1"/>
        </p:nvGrpSpPr>
        <p:grpSpPr>
          <a:xfrm>
            <a:off x="1085124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29AF10E-10FF-4A62-826F-EAA210335718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70B6C71-9D4D-4D52-9528-FEE4352D5458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7ADB278-CBC3-47FC-85C8-BFBFEEA45175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28266BE-0499-4F27-9E93-AE021103D98E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3FAD65E-D8F9-4B5D-90B1-5931ADFD715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BEA5C75-719F-482A-A6ED-CBDE227E374F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D53CADF-B3B7-4287-9CCB-9F4B558596D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FE91C1B7-803C-41EF-8512-856717151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2A2974C-4604-4AB8-8040-D9EC2D297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F0DBEC00-EF54-4412-885D-682DC3259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C5FA7FE-DE70-4382-AB76-7E6818FB8812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6B3EE737-53E0-4DD0-82FC-4E5A2FCE3F05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B7D04D74-FC4C-4567-A9E1-50D01F22885F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40AAE345-4E03-4134-8B11-CACA17ABEE57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7BF952D-E98B-45B1-862B-DEF06230B851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23C5207-5C5A-4D21-9E3B-00E76A674500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4C5732B-5C61-4A21-8929-50DFB951E58C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8F464A2F-ED3D-44D4-866F-B75934E74B2E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822A34C5-5A93-4503-94F1-DEAAC680CFCF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ED031273-54FB-446F-9D26-658F510CE410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D800C743-E5D6-45E0-AA1C-766AE34B357E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171ACAC1-56D9-440A-9A1A-D8437915ED9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33AE9ACE-095C-4476-A09B-BD3BBA1093AD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9563A3A3-C30A-467C-A947-392636CBA0CF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8E92107F-83D4-4344-A1CE-7D761D958B7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E6FD0B5C-13B1-4AD1-95F0-A2E8F13D619A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25E3F2B-C428-4103-AADB-F73013845B07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4585BA4-C4FD-4327-8B3D-DB703E93AA5F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C954AD9-D00E-4FFE-BD1C-CA499C064444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9326369F-74E3-43B3-B615-ACCD3AF39798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287C64D-29E1-4DE0-B00A-5048DC9E411E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FC61246-C2D4-4371-A00F-263B496BBA8D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AF19A7F-1C73-48A7-B15A-0EC405AACADC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69F8806D-DB6D-48BE-96E8-B4471D06E5C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53B171B-F3B4-4308-B20D-DC6A40B710CD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A532BFA6-8388-4C5E-B751-5DE7FEB55634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CEF6D4D2-6A24-4865-B8F6-948762534663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964BB5D-C791-439D-8AF4-3C22E7DA780A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7F2A647-F16A-49FE-BBFA-E24EB92346BD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3AFF5B4-30F7-4673-AA46-64A50D328E7E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AD55107D-9DD9-4FA5-A76A-4779051F6DC5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3B6AA15-4838-400C-89BC-2E3ED91B90D0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E5F23EC1-E8F9-46BA-AF3C-1CC5603D170A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13972FF-62AB-4AE6-8D9A-CE1FF9F7A6A2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F6B5FA4-709A-4164-B682-BBDE85C83730}"/>
              </a:ext>
            </a:extLst>
          </p:cNvPr>
          <p:cNvSpPr/>
          <p:nvPr userDrawn="1"/>
        </p:nvSpPr>
        <p:spPr>
          <a:xfrm rot="5400000">
            <a:off x="11283961" y="3096655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23A076E-F233-4493-870E-683BC862B199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CF2246B2-3D3A-4A64-90E2-77AD20B32251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9E3391F-65BA-4819-824D-922A619011F8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06797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5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219846" y="31384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5</a:t>
            </a: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30DE6CB-CE56-4C84-BED6-6BE715E7E8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21BD9-15AA-4E46-A09A-6D8231B28463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B1449B-5566-46D4-AA07-1970E49A3898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479416EC-B0EA-486C-ACDC-AFA6962F7D55}"/>
              </a:ext>
            </a:extLst>
          </p:cNvPr>
          <p:cNvSpPr/>
          <p:nvPr userDrawn="1"/>
        </p:nvSpPr>
        <p:spPr>
          <a:xfrm rot="16200000">
            <a:off x="11900597" y="37302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7564FD85-E8F7-40CC-865B-2B7F23ED7553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AB532DE3-09E3-4977-B2BA-B154047EF486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C02CB5D-4F9B-4643-BEEA-FC8FEFBD0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5BC9745-69D5-4B02-88A0-4AF73742F2C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4E48C90-5A79-45F2-8DB1-D9BD44CF16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116039CD-907B-4766-A7DA-4530E1BB60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3BEAF0CF-888B-4A1C-B5E3-87994D9F099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AFCD516-351A-4097-B1BA-A172B5E93E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8878A49-A261-454F-AFDB-B76D39AA6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393A0745-5BCB-4755-BD00-F21A2AA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ED7F239-84D8-424D-BA45-AE2EBD350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823260E-0E3A-4261-A46D-E2190AEDC93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A5F1225-4DBD-463F-9D53-A84BC0E308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08FE1EE-81D1-4CFB-B321-93386E23639F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B4264B-B06A-42D5-A7C4-461BB895DB3D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EDBE721-57FD-4A10-A679-00F237AC93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5FC1FC14-FDA4-4DA9-AC7B-ABB1DA1BE2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A386DB0B-124C-46DA-9A79-4981C4248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70FAE6B-0F84-4E2B-998B-1A5D1ED15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57D6C03-F94C-4627-8307-E6727CB729C4}"/>
              </a:ext>
            </a:extLst>
          </p:cNvPr>
          <p:cNvGrpSpPr/>
          <p:nvPr userDrawn="1"/>
        </p:nvGrpSpPr>
        <p:grpSpPr>
          <a:xfrm>
            <a:off x="1085124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52C9F35-3B3F-43C8-985D-0337360B5D0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46DA560-0931-4740-BB3E-DB75C0708BDD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2C2729D-ABD5-4CB4-A363-A75170B7AF21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7392EB7-7368-4C0A-8F1C-3C53374029A3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BD6E6D0-6F28-4B7F-AFDD-819AE3BF9C20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B53EB8E2-4272-425A-9C23-AEE47C2C4DC4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EE3AE7-1467-4C52-9BBE-726AC1F5C1CE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FE048978-48AC-45D0-81F6-A9BBA56EC963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6A619633-EE47-4019-B3F6-A697BBCBD246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678ED08-8415-4731-8217-7A4D3971E968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A392245-FA65-4C6F-842C-90DAA76FB06E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E0907D5-9FA5-4A66-93AE-6A88D1BBF9A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3D45FCB-1B3F-4893-ADAA-3CC2494FA775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79B57244-8F4A-49A4-AD4B-157A96755B3B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B492BB8C-D584-4066-B9EB-A928E254620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B94C6D6C-5613-48F4-B996-6E9FB9D3E4FD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4EBA6D87-AA5D-4851-8FDD-0EDF793E0829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82" name="Freeform 25">
            <a:extLst>
              <a:ext uri="{FF2B5EF4-FFF2-40B4-BE49-F238E27FC236}">
                <a16:creationId xmlns:a16="http://schemas.microsoft.com/office/drawing/2014/main" id="{688BF289-00C1-4695-AE6A-34B5925C137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83" name="Round Same-side Corner of Rectangle 79">
            <a:extLst>
              <a:ext uri="{FF2B5EF4-FFF2-40B4-BE49-F238E27FC236}">
                <a16:creationId xmlns:a16="http://schemas.microsoft.com/office/drawing/2014/main" id="{053878D8-95F0-4F6F-BB52-3F9DD3B27FA7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4" name="TextBox 83">
            <a:hlinkClick r:id="" action="ppaction://noaction"/>
            <a:extLst>
              <a:ext uri="{FF2B5EF4-FFF2-40B4-BE49-F238E27FC236}">
                <a16:creationId xmlns:a16="http://schemas.microsoft.com/office/drawing/2014/main" id="{3FF8FDB7-F587-4E0A-9548-5E433D469BAC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85" name="Freeform 21">
            <a:extLst>
              <a:ext uri="{FF2B5EF4-FFF2-40B4-BE49-F238E27FC236}">
                <a16:creationId xmlns:a16="http://schemas.microsoft.com/office/drawing/2014/main" id="{BA9EE4FD-4CC4-4B27-80E9-1393F495545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6" name="Graphic 28" descr="List">
            <a:extLst>
              <a:ext uri="{FF2B5EF4-FFF2-40B4-BE49-F238E27FC236}">
                <a16:creationId xmlns:a16="http://schemas.microsoft.com/office/drawing/2014/main" id="{AC282B24-E1E3-4FA9-94C8-F63DB6C0049C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1A74F79-41D8-4750-AAE7-EB7721D97D70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2C9E8DA-086D-4F78-B912-B14523C41F60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FAEEC1D-7117-4C68-96F0-61743C4CC940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1085D1C-9CC6-430F-9A2F-FCC49E7DB72B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1ECC86A-5EEB-4036-BB9F-94F83FAE5973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09BA63D-AB2E-472D-BD72-DAFF96DDBF1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83E5977-6E61-43A8-A127-79FDA17FDD8C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5D2E770C-C5FF-4A4B-B19B-B23E0BEB1CD1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71BFB8E-B7A2-4498-9179-B0DF5A2FE038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0762F5B9-AB47-43C1-AAC2-2C1152E4DE4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427696E8-7198-45BD-ADFB-BA2923C4CDCE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45E8D05-A0AB-4499-BEB2-C110240491C3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22695F7-FFC3-4DB7-A26F-08B3F93472F4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B53EACF-2553-473A-8B0F-A1AFF7FF82EC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B5AD3E15-0425-47D0-BA90-9DB9760701A2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8A0C65E-5456-4CC9-9D58-19E168C790C9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ADF0B55A-02E7-4F82-87E6-1D3C16BDC5E2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B524A75-17B4-4305-A61A-1C27E2EB129D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4D3CAC1-7415-45C3-BFB6-BB8F077E451C}"/>
              </a:ext>
            </a:extLst>
          </p:cNvPr>
          <p:cNvSpPr/>
          <p:nvPr userDrawn="1"/>
        </p:nvSpPr>
        <p:spPr>
          <a:xfrm rot="5400000">
            <a:off x="11283961" y="3096655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DA6F459-DB2A-4CD4-8847-CC44F6C4772C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1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71D3A311-3428-4E16-A077-A187ED73EB1D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D9FC965-28A0-4B0C-A2C1-BA04FB672713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75319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6AF02CEA-FD96-4342-A274-5D63750FD2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6358" y="0"/>
            <a:ext cx="1016417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EA0213-A3F9-47D1-AEFE-22C187AB23C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812C2910-CAAB-48F9-8068-13C09737DE00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D52C0F9A-4396-4332-B60D-325DD8CA9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0F8D6F6-BF16-4494-8FA6-ED786EE97319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4E4E6CBE-6686-4F23-B4F4-999481D1BC1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39628" y="846811"/>
            <a:ext cx="609466" cy="711972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CF4F68E-476C-4849-9BF3-14D94F6D94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61BE517C-0EEE-4812-AA28-41D7D839ACBD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36115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6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219847" y="3591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6</a:t>
            </a: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800B4F-17A0-4BC2-91E2-C75BBF9F5CE8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98E23-0D85-4565-8E83-B477C369A432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7B40B4A3-D6F5-4DF1-9525-A127BEACF98F}"/>
              </a:ext>
            </a:extLst>
          </p:cNvPr>
          <p:cNvSpPr/>
          <p:nvPr userDrawn="1"/>
        </p:nvSpPr>
        <p:spPr>
          <a:xfrm rot="16200000">
            <a:off x="11900597" y="41828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69172A22-14B9-4B61-BB8F-5F7D4F577F2C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11BCDEE4-A22D-41C4-990A-EB77412E4AEC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A7D6A814-AACD-4723-A3E6-44532A6F2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B6CBAD5-6B1D-4EE6-B7E0-7D327CAB713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7C03C06-8B4C-4F70-801C-BD3B938CC3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CF599F60-5A79-42C7-80C4-63F1EB050F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65109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B626790-E27E-4CDE-AA86-FB594AC0BF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F7DC15-B507-40FE-94AA-2B8C77CEBB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D8B2E3F3-B1F7-4A33-956D-7D447A867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43EC5FD8-B597-4ADC-BDDF-9E73CF58E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DEF051B-20D8-466F-A16C-F20C58D543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94333BD0-42EC-44ED-9BAE-7757918387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ACAE36B3-AF2D-478D-88C9-3CE0A8C01A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319944" indent="-319944">
              <a:spcBef>
                <a:spcPts val="1200"/>
              </a:spcBef>
              <a:buFont typeface="+mj-lt"/>
              <a:buAutoNum type="alphaUcPeriod"/>
              <a:defRPr/>
            </a:lvl2pPr>
            <a:lvl3pPr marL="511910" indent="-173684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2B0B944-6CE6-43E0-999B-D9E7C8E5B2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02608E7-C0B3-429D-9481-53C1000009CA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09E2E02-B3C0-4173-B07B-BD3340CD07C6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7713616-F8CB-42DC-8F3C-A105AD1996D9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DF4E35F-0620-419F-AC23-1CAE73B99162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905438A-30B3-4FAD-8295-B6600B3CBABF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25973A6-48B5-4681-A44D-6B999B4D9B43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BA2432-C455-4BF3-B283-F60B381A61CB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40C72F1-01BB-4671-8ED5-46478A70A88A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30A050B-8204-4B35-B948-AD2497B8BEF7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90AE251-C3C2-4ED6-8127-B39554E1A9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195CB80E-0DB2-4434-BE9A-007989458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9631905B-5549-437E-925A-4F077325E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2F4615F2-BAC3-439E-AFEA-A993F145C1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8BFDA64-DCFA-429C-908B-AE9194E33A8F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558731B-2AF7-40E9-9672-CDCACAA51CBE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C4D286A2-820B-46C8-909A-BC6F3A862C20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15CEA46-0FF0-4548-B245-746E976768B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495C889-D5E3-4272-82B5-F3B4A3908E0A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BEBE7BA3-6132-4003-A79D-CFA4B4D9E19B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F77523A-164C-4AD4-8373-108A4C516730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5A570A18-59BF-40E2-B47C-EB31B6C6E2B2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FCFF80AD-8344-4F8E-9CC5-224BB0D62C9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C1B42306-1904-46E7-BE28-CFF76ACFB4F2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8F1F7789-AB3D-4435-9169-25DE8DA65F26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238620AC-097B-441B-AF0F-32416329764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81EDF39A-4038-4DF9-8F59-F059EA014CC9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4405A5F0-60A1-4D5E-8F57-A386661218D8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397CF1EA-9C83-4F4A-A407-3EAA6369E2E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C7B9C6FE-340D-4C11-8F73-5B63080C8FEC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A7F223C-E7E9-4900-A0F0-34ABD4BA8E1B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1760476-348F-483B-AD5A-EB945F2A7E64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A250FB0-5B0A-40C5-A78D-FEDBA23F10FC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DDF47E8-25E3-40CE-9284-FA2BA4F6C40B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37E141D-5A24-48D3-BFA8-981593F802CA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315A45E-64DD-41AB-AC1F-29A097988639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1F0C85E6-2EDD-4C1A-9BA3-E94EB0D85F32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4037D8D-8E22-4572-92BD-2A6BFD3FC9EF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AAAB576-8181-4201-B2C1-B24C020626C0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5904B4B-3A37-445C-8033-34DB5F145A5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1C8DD360-0487-467D-A649-9C50CAD4E5F8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C2ECF9A-A347-43F9-89BA-F54A771DFF79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6B33585-ACAF-4AC8-AD8F-47D4308C0720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579ED9C-E99B-487E-BE9B-54CEA14D6A1C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22C5FE46-7D2F-467E-8DBA-53A88D7EBF05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76D6F80-0BFB-49A4-AB4B-1F874DBE9E8F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6C3B18B3-19E8-479A-AEDF-BDA05D5756FB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B15791C-CD61-4EB5-9E42-B73430482107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AAB4CF3-E9D1-45DD-9ACF-35952F16191D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BA97296-EA8D-479C-969B-07C854A6ACE7}"/>
              </a:ext>
            </a:extLst>
          </p:cNvPr>
          <p:cNvSpPr/>
          <p:nvPr userDrawn="1"/>
        </p:nvSpPr>
        <p:spPr>
          <a:xfrm rot="5400000">
            <a:off x="11290966" y="3556188"/>
            <a:ext cx="349171" cy="144654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44A88AD9-02C8-4A68-912B-280F3DCE5033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20CDBC-1B16-4EAE-A4E3-1058550F2D3A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44315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6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219847" y="3591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6</a:t>
            </a: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17D13B3-3001-44D2-83C6-1AB54C8542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800B4F-17A0-4BC2-91E2-C75BBF9F5CE8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98E23-0D85-4565-8E83-B477C369A432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7B40B4A3-D6F5-4DF1-9525-A127BEACF98F}"/>
              </a:ext>
            </a:extLst>
          </p:cNvPr>
          <p:cNvSpPr/>
          <p:nvPr userDrawn="1"/>
        </p:nvSpPr>
        <p:spPr>
          <a:xfrm rot="16200000">
            <a:off x="11900597" y="41828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69172A22-14B9-4B61-BB8F-5F7D4F577F2C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11BCDEE4-A22D-41C4-990A-EB77412E4AEC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A7D6A814-AACD-4723-A3E6-44532A6F2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B6CBAD5-6B1D-4EE6-B7E0-7D327CAB713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7C03C06-8B4C-4F70-801C-BD3B938CC3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CF599F60-5A79-42C7-80C4-63F1EB050F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65109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B626790-E27E-4CDE-AA86-FB594AC0BF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F7DC15-B507-40FE-94AA-2B8C77CEBB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D8B2E3F3-B1F7-4A33-956D-7D447A867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43EC5FD8-B597-4ADC-BDDF-9E73CF58E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DEF051B-20D8-466F-A16C-F20C58D543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94333BD0-42EC-44ED-9BAE-7757918387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7607DF6-43E3-483C-8408-6AA0DE59BA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AAA2622-6FB3-4214-94EE-5CE2C00D6F22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6BF343B-6B2C-4ECB-9D69-8EA65A4867D1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96C3D34-A05E-42B9-9537-1A240D034A66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2F86250-BDEA-45DF-B48B-D9DFA038CE2E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5D2803F-445E-4E34-A48C-5963D89EB691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AAD5A6E-4BAD-43E6-9736-F5D86AD3183C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0F07C7E-E14A-4980-9391-1C6CBA2D131D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7B7D38-CC42-440D-8ABC-EE96675554EF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48AE8FD-737A-434E-A0B0-B9F4D1CDAF75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70B4D57-140D-4AFA-BFC0-1CA76190A78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FB179148-9F8B-4FDC-A04B-1EF80C6CE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29E6A11B-5125-480E-A7DF-B9E84E860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B400ADFA-EE48-4CE4-AAAE-F1EE609A8C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D6915C7-91EA-4A77-8667-E2F813172B01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35BCE20-6C8D-4664-806E-0F80F98F4937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0967764-FB60-4F58-A1A6-AA278A35F221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143169C-710D-4518-89B9-A50BAE3D9A0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7BC02B7-323E-49D7-A681-067BF306A690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9F6F9DD-C45A-4275-B17D-B75F46CAAD8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24F9333-0270-4C71-A104-D762DD9FEAFA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850C7FE2-376D-4A50-95E6-EC22C90868E3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6591B573-70F0-4337-95C0-2A293345226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A235A59A-01FF-4282-B20C-1D51A5B545A2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EAE6E452-5E80-429C-86FA-E94564F48061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56368E7D-C6B1-4FC4-84CB-850E491EB28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23956198-447D-4D59-84F0-16DBDA54126E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BAFE9D0B-1361-4951-AD59-C1212C398B59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EF7622D6-B5DC-4DB2-8E21-04AE835E223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446AF50D-0BE2-47A5-90FB-3B796742A712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10F95EE6-B50E-43FF-A4E1-47C21811C669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42F468B-D932-47B9-B35C-EA897C4220DE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BCDB589-D78D-40D3-AB70-F561B8262AFA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62D2D45-1E15-4302-8C9C-3EFEF4EAFC6C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E982F62-AE08-490D-85F9-E47E4F74B1B2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FB34E1C-9A0A-42B9-A15F-DF5361ABC718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F0C4F94-3D64-4F53-8736-C0EFFA1208D8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CA5C5E7-FD01-42A2-95E4-432A12765B9E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1840ED9-07A0-4FD6-B419-2CE7FD344B80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7BF2249A-8E15-48E6-A2C5-2E539577D562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1F6F8753-E7C3-42D4-95EF-8E722B237588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5228548-9524-4013-A3FE-CD8EC65A35AA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1D911B1-3FF2-4EF8-9037-94ACDFE7BBA6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D9FF4F-CE4D-428B-8096-FF9FC30CCEAF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1AF9996B-2EF1-4AC2-A4DB-D0E9DB62E720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AEB7752-CFC4-49E7-9AC9-090307A31FDE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4DB2658B-3A7E-4CEB-A58D-8954945E63C0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5C78CEE-67A7-493B-AFFB-7BB6366E681B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6E5E9CB-F244-4596-A407-7A67AC8D4C00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7275D84-68D6-4337-980F-DF58AD691F46}"/>
              </a:ext>
            </a:extLst>
          </p:cNvPr>
          <p:cNvSpPr/>
          <p:nvPr userDrawn="1"/>
        </p:nvSpPr>
        <p:spPr>
          <a:xfrm rot="5400000">
            <a:off x="11287463" y="3552686"/>
            <a:ext cx="349171" cy="1453551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30536761-95E6-450C-9F2A-C97A24A66599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763CB49-018C-4C16-8987-2DCF1EF308B9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65687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- up of a gears&#10;&#10;Description automatically generated with medium confidence">
            <a:extLst>
              <a:ext uri="{FF2B5EF4-FFF2-40B4-BE49-F238E27FC236}">
                <a16:creationId xmlns:a16="http://schemas.microsoft.com/office/drawing/2014/main" id="{B4794715-33BE-42FA-84ED-4D4DB070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3403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0A7676B-2AF7-4ED8-A0D0-89A20E7F8870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B9BCAF18-4615-42B9-902A-44E171DCB3BF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7D4A63D1-478D-4C09-A7E2-214975EAC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A515D08-7FC7-442E-B410-6A2F6F29CE1B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0BFD91-4BA7-4EBF-8725-DDE8E16C107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846" y="830910"/>
            <a:ext cx="756788" cy="737866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EF9C15E-F755-4EF9-A226-EB18D6956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C47B1B4D-CA46-4208-B905-69216BCEE9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22B1DE75-892C-41C7-B11E-F0232FDBEB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44F45850-62A8-4590-818F-5373124BEAA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2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D1654BF4-55FF-42BA-9BBA-90A8ED8BEBE9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63731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7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219849" y="4043622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7</a:t>
            </a: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465AEC-AC2C-4F26-A514-B16A2E6B814C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8E7AEC-D397-4EF4-B63F-12A6FB09D5E6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3A261BEA-A960-4E18-B27D-6E834535FA6D}"/>
              </a:ext>
            </a:extLst>
          </p:cNvPr>
          <p:cNvSpPr/>
          <p:nvPr userDrawn="1"/>
        </p:nvSpPr>
        <p:spPr>
          <a:xfrm rot="16200000">
            <a:off x="11900597" y="46354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49758E62-1728-41C3-986B-531C92523644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7064BD3E-E930-4055-A8FA-D42586D02F4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AA79184-6D0A-4367-85F9-26259B1BB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560754B-34AB-419C-B9EF-5F60CBDC00B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62AA2B4-84A0-4EF3-852A-375A9FF1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04FE2D9C-0B20-4B7E-8BC6-652797D28F8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44358A22-1548-493D-AB57-E81679F3053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E5B7E0B-C3FC-464C-B739-0FEC64D792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0E5224F-46BC-4CB9-9B49-C35E8F2D1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0D34931-2226-4D73-B84C-7CAD0E1E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36039B62-E7D0-4152-BBFE-2DC2A8F73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DA91999-BB53-49CC-A201-1149313FC1E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1BD94613-9034-4F85-BF55-C1330DBAD3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CC55850-0B4D-459E-9DFA-826A8F8DD9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1774698-E6E0-4328-BE18-5A15690D2252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0ABEA9D-8331-480D-AE18-076B3A39BF1B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C247BC-BA04-499E-A1EF-51DF1F791813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B1A55E2-B374-4FB3-8256-86D4ABE2722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1B02360-0FDB-4B96-9C5C-BCA0D3551988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674843E-87CC-4950-A9BC-DE91197586AE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B1BB7E0-00D9-4D88-ACC1-37A5D8EECB21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20CA995-F88A-47E6-8930-2551D6A896D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A6C7F06-E38C-488E-935E-52491DA75323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E844C76-4745-45A3-8FB7-DFA20E1AEFE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41423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997C66A9-7C4A-45A8-AF06-B6D56D0083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0E769C7-ED5C-46EA-85B5-4209A68B3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07A497BF-33B0-4054-AFD9-0ADC934294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46B6AFD-0F68-42B6-B3E2-8AAFF7056BC1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E78D383C-663D-4FC7-9F31-AD8AFEFEF89F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89569F0-B30F-4BCF-8838-654B35D02D17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490A778-D774-4AAC-9976-3E549746FC85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8F7F4555-DF1F-429F-A28A-EFF837308C61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0A038EA-73B9-4662-88F7-BAC06BB4586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D5BD62B-4737-413B-9E36-FBF3FA8FF0DE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108BFFFD-BFD2-476C-B9F5-49875AE53DDD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481D5C02-3AA4-41F6-ABB6-01126E544750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820E6861-DC11-47EF-A496-7DB638922BAA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E7242653-9858-4400-80AD-CFFCD610147A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63" name="Freeform 25">
            <a:extLst>
              <a:ext uri="{FF2B5EF4-FFF2-40B4-BE49-F238E27FC236}">
                <a16:creationId xmlns:a16="http://schemas.microsoft.com/office/drawing/2014/main" id="{FE1DE68E-7D33-4780-8CAE-FE100F80421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5" name="Round Same-side Corner of Rectangle 79">
            <a:extLst>
              <a:ext uri="{FF2B5EF4-FFF2-40B4-BE49-F238E27FC236}">
                <a16:creationId xmlns:a16="http://schemas.microsoft.com/office/drawing/2014/main" id="{AF3C1C47-D2DA-4C3E-B781-D7BCD850049D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6" name="TextBox 65">
            <a:hlinkClick r:id="" action="ppaction://noaction"/>
            <a:extLst>
              <a:ext uri="{FF2B5EF4-FFF2-40B4-BE49-F238E27FC236}">
                <a16:creationId xmlns:a16="http://schemas.microsoft.com/office/drawing/2014/main" id="{8219B357-8E0A-4035-BE33-C9331F738E25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67" name="Freeform 21">
            <a:extLst>
              <a:ext uri="{FF2B5EF4-FFF2-40B4-BE49-F238E27FC236}">
                <a16:creationId xmlns:a16="http://schemas.microsoft.com/office/drawing/2014/main" id="{D9950595-469B-485E-B8FA-19E24C5C284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060970E3-A383-4E2F-8D6B-A1B60550E19B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4220F67-775C-4B82-A325-64823B9DADE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1837238-64A2-486D-9D27-5DBD820A7FBD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0A9D7B7-6631-4DD8-ADCF-5A6A46FA9A9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D70304F-C9B3-4DCA-8276-49D20B6377BD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E4BA30A-2B7D-4377-A275-FD8F1A6193A6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B7D3850-1E0B-41B7-8699-1152C01DC64A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403BE69-3710-4D18-8785-76AF965E79E9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35F4AE1-BF25-43C8-BD95-3911856122B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4BB1E92-3EF0-479C-918F-95C92FBAFBE0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44B73DE1-5501-4BD5-B43D-C8C910E711CD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E2F8AF91-E1B8-45D6-8750-38C88B9D7132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AA79AD4-00F3-46DD-AF85-EFF999B43E92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DE7E503-3190-4924-87FB-1B57E4B8736A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21FBB78-1F4E-4AE8-B9E1-3FC9CEA51488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887448F2-F949-4901-A7EC-E8FC1DFC0B1D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C9AE9E4-7FE0-40ED-8D32-058E9C6ED256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B6C583F8-E3A1-4767-98CF-82FAA44416CF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92EA3F9-8F68-4029-815D-6109B21D7BB3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3F52975-79D4-47B0-9139-933070051D6B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F8A3AA2-03BD-4879-AFC0-302022C0089D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F897A1A3-E1ED-49E8-84D1-DC843B46FA2A}"/>
              </a:ext>
            </a:extLst>
          </p:cNvPr>
          <p:cNvSpPr/>
          <p:nvPr userDrawn="1"/>
        </p:nvSpPr>
        <p:spPr>
          <a:xfrm rot="5400000">
            <a:off x="11290966" y="4008716"/>
            <a:ext cx="349171" cy="144654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422CB5C-5B8F-4144-BF2B-C04AAA54C928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95769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07906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7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219849" y="4043622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7</a:t>
            </a: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61F1E3D-127E-4F62-AC5B-EFF9791B28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465AEC-AC2C-4F26-A514-B16A2E6B814C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8E7AEC-D397-4EF4-B63F-12A6FB09D5E6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3A261BEA-A960-4E18-B27D-6E834535FA6D}"/>
              </a:ext>
            </a:extLst>
          </p:cNvPr>
          <p:cNvSpPr/>
          <p:nvPr userDrawn="1"/>
        </p:nvSpPr>
        <p:spPr>
          <a:xfrm rot="16200000">
            <a:off x="11900597" y="46354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49758E62-1728-41C3-986B-531C92523644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7064BD3E-E930-4055-A8FA-D42586D02F4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AA79184-6D0A-4367-85F9-26259B1BB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560754B-34AB-419C-B9EF-5F60CBDC00B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62AA2B4-84A0-4EF3-852A-375A9FF1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04FE2D9C-0B20-4B7E-8BC6-652797D28F8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44358A22-1548-493D-AB57-E81679F3053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E5B7E0B-C3FC-464C-B739-0FEC64D792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0E5224F-46BC-4CB9-9B49-C35E8F2D1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0D34931-2226-4D73-B84C-7CAD0E1E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36039B62-E7D0-4152-BBFE-2DC2A8F73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DA91999-BB53-49CC-A201-1149313FC1E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BAFB4CB-6316-4DE7-B036-F004E8D112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2828277-BF2D-4AE5-8107-BC302A5550E6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D0727AC-B205-4ED5-AC0F-73C27B0802C6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EC44AE4-CE6E-4997-9D90-A23E33C3CC97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93398CA-21C9-41E3-A822-236A6FD920F6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419A17-AB89-4B6C-BD53-8CD68A3CB60B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78A4C4D-3842-4B5A-897E-4DED0F96EBE2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6B5947F-975D-4716-A4CB-E874986D6B70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EDDAB68-E105-4232-9897-E29AED8F6390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45D5077-6EA2-4584-999A-16E113A84618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05AC013-C6A2-4A76-BCF6-EE71D70849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41423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C20CC116-AC73-4580-B31C-CFA77FEED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E9C0C864-E0FF-4886-9AD0-460F6321D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CFA20AB8-0384-44E8-8C58-AC5DBB93A6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E2F73D5-AF1B-407C-B33B-1F2FA693C3D9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47E3451-79A3-4255-893A-D0040877EB5D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E5CFF7FE-0669-4096-95BA-055A9ED2A85C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B4C5B78-E792-42F7-9AFE-E3B3DA0D09F5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BC19366-1FC2-47F3-ACFC-F10EB9902CD6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6766581-E3EE-4A00-A648-5EF5FDE9993D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6BDB482-5C53-4DC4-B75D-96033238E642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8453C795-6141-456E-B878-3D39F4374BD2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B10AB884-042F-4BEE-8D94-8043B4A4151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7E104A7C-8E96-4FE1-B71E-3330583C5035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3FDD2155-436B-4F18-9643-160642363409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B5E4CC91-A830-4F1A-B7FA-51A6679A8CE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7B717917-CF09-4DBD-958C-9AF7AC3A8F76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FFF29B9E-D0E3-45E8-8D06-63BC7DE0EF49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29B43A96-796D-4183-88DC-30563B769F5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9C219480-DBF7-4F17-8FE8-061F087340D0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C45A6C9-84A6-4871-ACC4-57338EE25579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09BBD40-EC91-47C8-AE88-D64B93612C2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81B8A0-AA05-415B-A221-828E308C1A12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03AD608-5C1E-44FA-808B-033BD38A3408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587A714-625F-4173-A87D-734CDC46E292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EB5E64C-CA28-4E7B-ADC9-BF9F8CC03F0F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F69A345-8DEF-4DB5-8A32-D96D170C361F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A8209C8-848D-40D8-9E24-0F99BFD40DE8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9FFD469-3088-4FDA-8DC5-CE738911CBA9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71F43774-61EB-45D8-BB1B-F3088F176273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3FD8F0AC-4029-4E7A-93D6-B420A2C18FB2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EEA5A11-5B2B-41F1-A6CA-5EBB965BDC1B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BB36E1A-DEC5-448F-9377-0C187807F3D1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A1F2315-85CE-4D6F-82B3-AE79F4000CC1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B8229BE8-9F62-45C1-B541-0E375B873BA2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192E72B-A0D4-49BB-8FAE-62B7C7AE341A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CA00B719-E70B-4E15-8738-56C2E6A0909F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F859E07-0908-4177-9DE7-D99580DC29CA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2D8FE57-DCCD-4994-A99A-ED03D53632C1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EDA2695-A107-4BC1-B319-4E56466DC11C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AA84A080-1931-4267-B447-3B08CF475D24}"/>
              </a:ext>
            </a:extLst>
          </p:cNvPr>
          <p:cNvSpPr/>
          <p:nvPr userDrawn="1"/>
        </p:nvSpPr>
        <p:spPr>
          <a:xfrm rot="5400000">
            <a:off x="11287463" y="4005214"/>
            <a:ext cx="349171" cy="1453551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9CB9E46-189B-413E-803E-A808474450C3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04857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young child with a stethoscope around her neck&#10;&#10;Description automatically generated with medium confidence">
            <a:extLst>
              <a:ext uri="{FF2B5EF4-FFF2-40B4-BE49-F238E27FC236}">
                <a16:creationId xmlns:a16="http://schemas.microsoft.com/office/drawing/2014/main" id="{7854B298-22E8-415A-9B9B-4123152C1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795490" y="0"/>
            <a:ext cx="10283686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8C4B8EF-32A3-461D-AA69-4727E19A3564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EE5B3361-8615-42AE-B777-05E724E99098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3371FA7-6B52-49D1-A2EB-2DFFDD0F6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BD5524E-FFFC-4584-8726-81182C0273CF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E9E71F01-8498-401D-98E8-DE2258848D0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67122" y="859278"/>
            <a:ext cx="747942" cy="673564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45FBF16-CC34-4DF6-B100-B52F4CAE65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72CFFBC7-B0D3-4A53-86A3-A15CCC114975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35877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8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219847" y="4496226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/>
              <a:t>Pillar  </a:t>
            </a: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13CD620F-9E71-4D9D-BE7B-C381B93FC517}"/>
              </a:ext>
            </a:extLst>
          </p:cNvPr>
          <p:cNvSpPr/>
          <p:nvPr userDrawn="1"/>
        </p:nvSpPr>
        <p:spPr>
          <a:xfrm rot="16200000">
            <a:off x="11900597" y="5088007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06046C7F-3D34-407F-A063-EE1B54B39E0D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CA45D622-71B7-4E13-8ED2-2A4AFD97AAA9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32FE4A5-A739-47EA-81E0-3D22CEE29C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5073D68-B7A1-4FBB-9A72-6F75E5D5A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A9C993CA-B5B7-47F3-BE52-1162D746BA9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05335764-8AF5-429B-8265-73AEFA29D9F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0588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155299-749A-44B3-8BDE-E350CE993B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16683CCD-48AD-4B20-B7DC-FAB5AB148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B26A5AE-D441-411B-84F1-D439B129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F37B175-4C15-41F6-A8B6-EDF6EFAFE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A153F7B4-1040-487D-BBC4-0DFC066F7E0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9523832-2660-419C-8A14-188EB3B4F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28531" indent="-228531">
              <a:spcBef>
                <a:spcPts val="1200"/>
              </a:spcBef>
              <a:buFont typeface="+mj-lt"/>
              <a:buAutoNum type="alphaUcPeriod"/>
              <a:defRPr/>
            </a:lvl2pPr>
            <a:lvl3pPr marL="511910" indent="-173684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FA24FFA-BBC5-4E7F-9422-64DCAD9447F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A09AC0D-B895-4FB3-8006-DC669083A658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C43E910-2CE5-46C5-A6B6-5F06952A5761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E7A3AF7-C338-4A9B-9473-D3B9F5851775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F64B0F7-4EDC-4927-A91C-12AB26CEC870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8E7849B-9F26-4599-B6FE-750B98E1FC17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1BA223A-9FBD-4EBB-8A86-2AC7735DBBBE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9A8C2EC-346A-4C06-B83E-BC7D78980027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102ABF2-C5DD-4E8B-8631-65A7CD236FD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DD4AD1F-379B-488B-BEEC-F239B8356576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6E0DCF4-1CA7-4BB0-8368-516E364E4F1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FC35437-4806-47CC-BB56-E566AE5CD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B315D3F-A951-47C2-8A78-17AEF0E236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591193D4-0719-4B8D-BAD6-BE59EA2CA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D4A0AB2-92D0-4B20-9F75-E11D9CFD5C1D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CACB7DE-D286-41C4-A4E0-69FE0D7E3C1F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DB3EF13-40A1-49C4-B5E5-0717F1D46CB8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6EB2041-C8DF-4773-9251-E38E93922374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34503FE-F435-440A-ACF0-8A2C8FD6EF0E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652EC29-83CC-46B7-ABFB-6512789119ED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A464E85-F5E5-4421-A180-E4F79239014F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F2AC887C-6D55-4105-97D8-EBE9DBC7A6A3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6C6BDEC3-98A8-4C7A-A01F-89A427F9AECF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1F9359E6-FB68-4A9E-BC78-FA6CC7376C4E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358CF7EC-0809-43A5-8D5D-2F00677BF841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6E6EF5CA-1733-4049-837C-6B459F5FD22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205F382D-61BD-4DD7-99B8-6F310C36DDA4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B2CCD14F-CD14-492E-8F91-2D31799C3F76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ED35CB87-8D5B-4C5E-BDF3-52799907EEA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43944469-9E25-4E56-BAC1-1D9B70410446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8C29916-0007-4147-B871-A8906F4CDD39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D4A82E1-2DD2-4711-A4E9-0889F06DC009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9F2AF43-5CA9-4601-A907-6C7AE787E3AB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DCAA823-47C2-4506-93DD-E6749A8F0F06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9A1D074-64C0-416D-8F0C-C39DBFA9713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850C3FFC-FB35-4EA0-AAF1-5E003CADE28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90778269-B000-4836-BE7D-7E39EB10DFBB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862080C-60A9-44F9-ADD1-1A93A837AF70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4A7075E9-C870-4D75-9311-1753F5E00E66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C6D87FD0-571C-4EE7-93FF-4228ACB147D2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501C3BFA-EAB9-4974-9C69-65FE216A8069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1FBFFD2-A002-4AF0-B486-940527867AFF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CC96846-6250-4C2F-8434-EE23121AB31F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B194BE6-5AAB-4BC0-ACB4-B8282A1AFE81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AE9E3224-53A5-4800-8D6C-B5DCACB368F2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DC4879B-094A-4655-B333-B8CB7E5594CF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FF457C6F-4B2A-43C2-BDD3-D04F8D19DB0C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F2274DE-336C-4C50-AC9C-C0DBAA2086DF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D3E8DAE-8578-4AF8-97A8-04D7532EB2AF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83BA67D-C992-4048-98F1-F5DB326A9A19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A5564DC2-385B-4C62-A426-71CFD6254B4F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0678141-AD2D-4C91-AEDF-9DB503E9F577}"/>
              </a:ext>
            </a:extLst>
          </p:cNvPr>
          <p:cNvSpPr/>
          <p:nvPr userDrawn="1"/>
        </p:nvSpPr>
        <p:spPr>
          <a:xfrm rot="5400000">
            <a:off x="11283961" y="4454241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79065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8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219847" y="4496226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/>
              <a:t>Pillar  </a:t>
            </a: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6C69787-3D0D-4B22-B634-F358FE797E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13CD620F-9E71-4D9D-BE7B-C381B93FC517}"/>
              </a:ext>
            </a:extLst>
          </p:cNvPr>
          <p:cNvSpPr/>
          <p:nvPr userDrawn="1"/>
        </p:nvSpPr>
        <p:spPr>
          <a:xfrm rot="16200000">
            <a:off x="11900597" y="5088007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06046C7F-3D34-407F-A063-EE1B54B39E0D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CA45D622-71B7-4E13-8ED2-2A4AFD97AAA9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32FE4A5-A739-47EA-81E0-3D22CEE29C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5073D68-B7A1-4FBB-9A72-6F75E5D5A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A9C993CA-B5B7-47F3-BE52-1162D746BA9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05335764-8AF5-429B-8265-73AEFA29D9F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0588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155299-749A-44B3-8BDE-E350CE993B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16683CCD-48AD-4B20-B7DC-FAB5AB148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B26A5AE-D441-411B-84F1-D439B129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F37B175-4C15-41F6-A8B6-EDF6EFAFE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A153F7B4-1040-487D-BBC4-0DFC066F7E0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FAE3DF-2E00-4C8F-94A2-4EDBDA2B0A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38EAD21-2177-4065-A114-8AE8AA09EA7B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1C041FD-5B85-4DC0-9C9B-5B425CFAAA36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A089925-B7AB-4A38-B677-A09D97CBE4A9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296FAEF-2A88-42D6-A60C-E5CCB834150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3DCC88B-D8F6-4083-B665-D1BCBA9B60B3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9367CD-CD4E-47DF-8747-88A516E5F190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994D00D-FA29-4EDE-BDAD-F9C4D3EAB8C6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9FA4D5C-9AFF-448C-9952-2D6E90A85B09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0FB15B2-CD38-411B-A024-708AB326728C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0E2C4DD-1EFF-4F3E-8829-9EE145FB2A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B975C2D4-457E-4627-8EE7-2DB829B3E3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708B00DA-FCE2-4A57-85FC-B78D141F7B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6554093-6227-402B-9FA3-2C1647D3B6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270A31D-C7A6-4CFF-BF9D-E17918757F9E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989F645-2FEF-41F3-BCA0-F8692A30BFEB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BE23FD7-42E8-464F-B540-CC34B9F222A3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A6C36BA-4BC5-4075-8022-0BE8AA10C47E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FED6BB0A-5568-4896-B2CE-44E8DB881D21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B6C0458-0622-4F76-9868-AD1B4A16F8C9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1C0969A-0E2B-4A65-9A0D-222DE8FC8F7C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3DB409C5-1EB1-4BF1-BD54-D05A8D5E0E1D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76B32A96-13C3-4BD8-829F-5EA2A2185710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D1D4BE7B-8B2C-4767-A7D3-A03BFC14BE21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02E8FB61-3B85-4D10-9BE3-232A9DBD01B9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BB74EC26-8CC0-4601-8CA6-54B9FBDEBF8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D31780DB-2FE9-4211-8688-3E4630794CD5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8756552C-C87C-480B-A9F5-9117AF4DDE9A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097B7A2E-E78D-41C1-BE5C-6CCA1D0BD9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BEB5C041-8AC2-4030-B75A-2D3AD2C90AF0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B34B21A-0B0C-489C-AA51-6615E11D91EF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116DCEB-965E-4A8F-A8BB-21E59EBC2DD6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90962DD-185E-4ABA-A28D-C1243A677807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B939055-417C-4C1C-9CF5-6D568CD46AF3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A4508F9-E716-404A-B2A3-0A08FCF06935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65E2D2D-8839-4574-85C3-CDBFC3D1E373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A31742F-0D66-480A-91A6-AD10DF2C937E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7D49302-DE71-4519-90B5-40513FDE9E41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9CB0DD6-1E7F-4A91-A197-5F6F1FB76498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48012808-F2AC-478C-8731-8BB332D4BAF4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D5D29F5F-38ED-4723-A567-9E506043AB17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D76D95F-F4E9-4D35-8D0C-417E5A26C89E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54F9D7A-B89B-43B0-89D4-EC3B63AF377B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C459DBF-BC66-4105-B76A-8CBA0B092306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00D44B3D-DA01-4B84-8E0B-A0ABDBF46F4E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25C9CFF-D671-43ED-95A0-CDF7D727E435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7" action="ppaction://hlinksldjump"/>
            <a:extLst>
              <a:ext uri="{FF2B5EF4-FFF2-40B4-BE49-F238E27FC236}">
                <a16:creationId xmlns:a16="http://schemas.microsoft.com/office/drawing/2014/main" id="{40801A8F-284C-4B2D-99D1-811D1F1FA70E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2D591B5-7B96-46BF-9A2E-20A01B8E6713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0D5360E-8B2A-4F78-A0A6-CC563A1815DA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086862E-E0EE-45E4-AAD0-B45372A82C74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rId8" action="ppaction://hlinksldjump"/>
            <a:extLst>
              <a:ext uri="{FF2B5EF4-FFF2-40B4-BE49-F238E27FC236}">
                <a16:creationId xmlns:a16="http://schemas.microsoft.com/office/drawing/2014/main" id="{E1456E31-5579-45F5-814D-E0F154A19CAB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13CE231-15B5-4D1B-9651-3044DCADACF3}"/>
              </a:ext>
            </a:extLst>
          </p:cNvPr>
          <p:cNvSpPr/>
          <p:nvPr userDrawn="1"/>
        </p:nvSpPr>
        <p:spPr>
          <a:xfrm rot="5400000">
            <a:off x="11283961" y="4454241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28247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children smiling&#10;&#10;Description automatically generated with medium confidence">
            <a:extLst>
              <a:ext uri="{FF2B5EF4-FFF2-40B4-BE49-F238E27FC236}">
                <a16:creationId xmlns:a16="http://schemas.microsoft.com/office/drawing/2014/main" id="{AE5B7854-4C73-4FFB-87D6-2BF28021A7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805555" y="0"/>
            <a:ext cx="102736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5D1A231-0B26-4848-A731-3CAF2625284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466EA5B2-8C8E-47CB-A17F-0572059A1022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6914AF1-9E53-4341-B9E5-EB819576A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5FE9ECE-569E-4A37-B87F-6081243B63FF}"/>
              </a:ext>
            </a:extLst>
          </p:cNvPr>
          <p:cNvSpPr/>
          <p:nvPr userDrawn="1"/>
        </p:nvSpPr>
        <p:spPr>
          <a:xfrm>
            <a:off x="558654" y="706397"/>
            <a:ext cx="4812047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25">
            <a:extLst>
              <a:ext uri="{FF2B5EF4-FFF2-40B4-BE49-F238E27FC236}">
                <a16:creationId xmlns:a16="http://schemas.microsoft.com/office/drawing/2014/main" id="{8E29C404-BB09-4C55-8561-29C8423B0E8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1667" y="834460"/>
            <a:ext cx="646129" cy="717249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E603599F-D8FC-413A-8DB1-47A1E40113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8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6E1713B3-247D-43CE-8120-2C8AAAA3805A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49568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9523832-2660-419C-8A14-188EB3B4F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28531" indent="-228531">
              <a:spcBef>
                <a:spcPts val="1200"/>
              </a:spcBef>
              <a:buFont typeface="+mj-lt"/>
              <a:buAutoNum type="alphaUcPeriod"/>
              <a:defRPr/>
            </a:lvl2pPr>
            <a:lvl3pPr marL="511910" indent="-173684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0" name="Round Same-side Corner of Rectangle 79">
            <a:extLst>
              <a:ext uri="{FF2B5EF4-FFF2-40B4-BE49-F238E27FC236}">
                <a16:creationId xmlns:a16="http://schemas.microsoft.com/office/drawing/2014/main" id="{54954E15-A103-4A62-A88F-A2D7355FEF38}"/>
              </a:ext>
            </a:extLst>
          </p:cNvPr>
          <p:cNvSpPr/>
          <p:nvPr userDrawn="1"/>
        </p:nvSpPr>
        <p:spPr>
          <a:xfrm rot="5400000">
            <a:off x="11223833" y="1145017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TextBox 92">
            <a:hlinkClick r:id="" action="ppaction://noaction"/>
            <a:extLst>
              <a:ext uri="{FF2B5EF4-FFF2-40B4-BE49-F238E27FC236}">
                <a16:creationId xmlns:a16="http://schemas.microsoft.com/office/drawing/2014/main" id="{7D10290F-A592-4DEA-B1F3-EB889E261015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94" name="Round Same-side Corner of Rectangle 79">
            <a:extLst>
              <a:ext uri="{FF2B5EF4-FFF2-40B4-BE49-F238E27FC236}">
                <a16:creationId xmlns:a16="http://schemas.microsoft.com/office/drawing/2014/main" id="{CBCE6B91-9E93-4BBD-B227-5CC2CDCA1EDB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TextBox 94">
            <a:hlinkClick r:id="" action="ppaction://noaction"/>
            <a:extLst>
              <a:ext uri="{FF2B5EF4-FFF2-40B4-BE49-F238E27FC236}">
                <a16:creationId xmlns:a16="http://schemas.microsoft.com/office/drawing/2014/main" id="{9C45D954-3B04-4D17-80AF-5CE603112CB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97" name="Round Same-side Corner of Rectangle 79">
            <a:extLst>
              <a:ext uri="{FF2B5EF4-FFF2-40B4-BE49-F238E27FC236}">
                <a16:creationId xmlns:a16="http://schemas.microsoft.com/office/drawing/2014/main" id="{015BCDBD-78AD-4B5B-83BA-4A7E9F0C6D9D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extLst>
              <a:ext uri="{FF2B5EF4-FFF2-40B4-BE49-F238E27FC236}">
                <a16:creationId xmlns:a16="http://schemas.microsoft.com/office/drawing/2014/main" id="{550E210F-EB80-47AD-8EA0-3E5C45072BE2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TextBox 99">
            <a:hlinkClick r:id="" action="ppaction://noaction"/>
            <a:extLst>
              <a:ext uri="{FF2B5EF4-FFF2-40B4-BE49-F238E27FC236}">
                <a16:creationId xmlns:a16="http://schemas.microsoft.com/office/drawing/2014/main" id="{958C3C00-7CBE-4514-B02C-2A961C64ADF0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101" name="Round Same-side Corner of Rectangle 79">
            <a:extLst>
              <a:ext uri="{FF2B5EF4-FFF2-40B4-BE49-F238E27FC236}">
                <a16:creationId xmlns:a16="http://schemas.microsoft.com/office/drawing/2014/main" id="{1335A8C6-D39B-4D9D-9323-4221A2117FE5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TextBox 101">
            <a:hlinkClick r:id="" action="ppaction://noaction"/>
            <a:extLst>
              <a:ext uri="{FF2B5EF4-FFF2-40B4-BE49-F238E27FC236}">
                <a16:creationId xmlns:a16="http://schemas.microsoft.com/office/drawing/2014/main" id="{FC35DD77-0637-4265-AA0D-228593075CBC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103" name="Freeform 5">
            <a:extLst>
              <a:ext uri="{FF2B5EF4-FFF2-40B4-BE49-F238E27FC236}">
                <a16:creationId xmlns:a16="http://schemas.microsoft.com/office/drawing/2014/main" id="{59B94288-461D-4F2F-8CF4-CE0D3663457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04" name="Graphic 103">
            <a:extLst>
              <a:ext uri="{FF2B5EF4-FFF2-40B4-BE49-F238E27FC236}">
                <a16:creationId xmlns:a16="http://schemas.microsoft.com/office/drawing/2014/main" id="{8C95F544-D51E-4D0B-9B8A-F930F59710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105" name="Freeform 25">
            <a:extLst>
              <a:ext uri="{FF2B5EF4-FFF2-40B4-BE49-F238E27FC236}">
                <a16:creationId xmlns:a16="http://schemas.microsoft.com/office/drawing/2014/main" id="{CC49B896-BF44-490E-9D81-3837AFA58F1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06" name="Round Same-side Corner of Rectangle 79">
            <a:extLst>
              <a:ext uri="{FF2B5EF4-FFF2-40B4-BE49-F238E27FC236}">
                <a16:creationId xmlns:a16="http://schemas.microsoft.com/office/drawing/2014/main" id="{07317064-B5DD-44A6-97EF-3298F70A7ADB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>
            <a:hlinkClick r:id="" action="ppaction://noaction"/>
            <a:extLst>
              <a:ext uri="{FF2B5EF4-FFF2-40B4-BE49-F238E27FC236}">
                <a16:creationId xmlns:a16="http://schemas.microsoft.com/office/drawing/2014/main" id="{08A75E20-7C4D-487C-BCE3-FC9EC19F4367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108" name="Freeform 21">
            <a:extLst>
              <a:ext uri="{FF2B5EF4-FFF2-40B4-BE49-F238E27FC236}">
                <a16:creationId xmlns:a16="http://schemas.microsoft.com/office/drawing/2014/main" id="{5E48DDAD-E706-4F3D-9083-709F195719C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109" name="Graphic 28" descr="List">
            <a:extLst>
              <a:ext uri="{FF2B5EF4-FFF2-40B4-BE49-F238E27FC236}">
                <a16:creationId xmlns:a16="http://schemas.microsoft.com/office/drawing/2014/main" id="{1DEA7FCC-DDB5-4FB1-A296-E6C5D436AAE2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20CDB65-0D61-48A2-B1C5-8302BF92A4E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934049F-66A2-4299-8E1E-2C861BEF6DA3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1C2E3A0D-8FAF-4461-B26C-246BFF8394A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91AA5C-BAB4-4967-B347-3A5695AA94D6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5A8294F5-4344-4D4A-AFFE-38C634B7B137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6FB251D9-5ABC-4D7F-8D54-8403C763A015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4F083DF-6DB1-4F96-B577-10D4A281F960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F94DBC1-F69F-4233-BCCC-BE7438B90A16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2087777-0C9F-40B4-B54A-11545ECE7D53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33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093106D1-B1C6-419C-9A07-74441A053D85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E57EE14B-3401-4FBC-A3CC-688DC3DBA614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905789A-45D8-47E8-9990-5000BAAF2A0B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46DE7E9-A5ED-409F-92F5-1926C76536AC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09604F1-583B-438B-9CCC-EF336DBC9BD7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22595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ppendix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A24BABF-905D-4FE9-A70E-D80E25FCE4F2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38E70A-AB57-4D32-A2DC-A19C438AB79B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3" y="1145017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BEF0042-5916-4E3E-8FD7-5A6200245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9117A3AE-B593-49CE-8EF5-30C8284ACBA5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1" name="Round Same-side Corner of Rectangle 79">
            <a:extLst>
              <a:ext uri="{FF2B5EF4-FFF2-40B4-BE49-F238E27FC236}">
                <a16:creationId xmlns:a16="http://schemas.microsoft.com/office/drawing/2014/main" id="{4270BB2A-4433-483A-B317-9895D066C01B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" name="TextBox 21">
            <a:hlinkClick r:id="" action="ppaction://noaction"/>
            <a:extLst>
              <a:ext uri="{FF2B5EF4-FFF2-40B4-BE49-F238E27FC236}">
                <a16:creationId xmlns:a16="http://schemas.microsoft.com/office/drawing/2014/main" id="{7FAD614A-E6A4-43FF-B216-2F235FEE4AE8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3" name="Round Same-side Corner of Rectangle 79">
            <a:extLst>
              <a:ext uri="{FF2B5EF4-FFF2-40B4-BE49-F238E27FC236}">
                <a16:creationId xmlns:a16="http://schemas.microsoft.com/office/drawing/2014/main" id="{13B9C9E1-B307-400F-AEC8-C1106B34E1B7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Round Same-side Corner of Rectangle 79">
            <a:extLst>
              <a:ext uri="{FF2B5EF4-FFF2-40B4-BE49-F238E27FC236}">
                <a16:creationId xmlns:a16="http://schemas.microsoft.com/office/drawing/2014/main" id="{3CB6185E-CE10-46E4-BC8F-B3D3DA6EFB0D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A14399E8-C824-4227-B524-20C236335E08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06131A3E-0D75-444A-A209-B12352A17ECE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TextBox 26">
            <a:hlinkClick r:id="" action="ppaction://noaction"/>
            <a:extLst>
              <a:ext uri="{FF2B5EF4-FFF2-40B4-BE49-F238E27FC236}">
                <a16:creationId xmlns:a16="http://schemas.microsoft.com/office/drawing/2014/main" id="{876971FC-9FDF-4E4F-BB05-B6A42FE4F8FE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A209221A-07F5-4216-B9A2-CF864495A5F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C037EB1-29C3-4B2C-AAB2-6B68795358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0" name="Freeform 25">
            <a:extLst>
              <a:ext uri="{FF2B5EF4-FFF2-40B4-BE49-F238E27FC236}">
                <a16:creationId xmlns:a16="http://schemas.microsoft.com/office/drawing/2014/main" id="{5C9228F0-11BC-4DF9-8EE3-D493C96579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1" name="Round Same-side Corner of Rectangle 79">
            <a:extLst>
              <a:ext uri="{FF2B5EF4-FFF2-40B4-BE49-F238E27FC236}">
                <a16:creationId xmlns:a16="http://schemas.microsoft.com/office/drawing/2014/main" id="{C5EFD175-10D3-4477-B5C9-F04124A08133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AADD3716-499D-45D8-B8B2-96017935FCBA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34" name="Freeform 21">
            <a:extLst>
              <a:ext uri="{FF2B5EF4-FFF2-40B4-BE49-F238E27FC236}">
                <a16:creationId xmlns:a16="http://schemas.microsoft.com/office/drawing/2014/main" id="{42BF0978-3F6D-47C6-B4D5-95C500FFED3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5" name="Graphic 28" descr="List">
            <a:extLst>
              <a:ext uri="{FF2B5EF4-FFF2-40B4-BE49-F238E27FC236}">
                <a16:creationId xmlns:a16="http://schemas.microsoft.com/office/drawing/2014/main" id="{DBD112FA-B174-40AB-BA33-EE7927D64080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D42DD06-72B3-4F21-AFAB-3A5CFF14CACF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69327DC-0495-4270-9D82-A07F6135E796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AC8800E-AC88-4505-A24E-3C695AA13063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46688CE-4A96-46D5-9B4D-F3577DA3959E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F26DE68-E040-44C5-B8A9-5C7A0A75848F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4C0877E-EBD7-40D5-B1EF-AF2C9480E944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A689BA8-D8A9-48E1-AE08-E6A9ED636FB4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85C1E96-38A5-4A1B-8489-6CACFFB007E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79C5303-C9AE-4CEC-A331-2C82BBD5229C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45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92C973EF-1CAE-44D1-934A-9AC1C8B6A715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6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AC73EC98-8F8C-4170-A45F-193AEDBD5FBF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108D2DB-05A8-4D2A-A8E5-920B7574CDF0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AED6CAB-4BD1-40B5-9D4E-0347B84D1AB6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505EC75-871B-42BF-89C7-05FE417DCBB2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2885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Abbrevi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Medium shot of a person and a doctor&#10;&#10;Description automatically generated with medium confidence">
            <a:extLst>
              <a:ext uri="{FF2B5EF4-FFF2-40B4-BE49-F238E27FC236}">
                <a16:creationId xmlns:a16="http://schemas.microsoft.com/office/drawing/2014/main" id="{BA1C8AAF-EF1F-45D5-8221-71A1F51C4B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9983" y="0"/>
            <a:ext cx="1027919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5D1A231-0B26-4848-A731-3CAF2625284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466EA5B2-8C8E-47CB-A17F-0572059A1022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6914AF1-9E53-4341-B9E5-EB819576A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5FE9ECE-569E-4A37-B87F-6081243B63FF}"/>
              </a:ext>
            </a:extLst>
          </p:cNvPr>
          <p:cNvSpPr/>
          <p:nvPr userDrawn="1"/>
        </p:nvSpPr>
        <p:spPr>
          <a:xfrm>
            <a:off x="558654" y="706397"/>
            <a:ext cx="4812047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25">
            <a:extLst>
              <a:ext uri="{FF2B5EF4-FFF2-40B4-BE49-F238E27FC236}">
                <a16:creationId xmlns:a16="http://schemas.microsoft.com/office/drawing/2014/main" id="{8E29C404-BB09-4C55-8561-29C8423B0E8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1667" y="834460"/>
            <a:ext cx="646129" cy="717249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87BC633E-B887-4F61-B021-8F42D845AC4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8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6EC7EA18-1445-48BB-8D29-85E51493D0FE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89251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reviations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9523832-2660-419C-8A14-188EB3B4F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5DDFA094-B8B4-42E3-9DEB-F70E50E6E948}"/>
              </a:ext>
            </a:extLst>
          </p:cNvPr>
          <p:cNvSpPr/>
          <p:nvPr userDrawn="1"/>
        </p:nvSpPr>
        <p:spPr>
          <a:xfrm rot="5400000">
            <a:off x="11223833" y="1145017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TextBox 33">
            <a:hlinkClick r:id="" action="ppaction://noaction"/>
            <a:extLst>
              <a:ext uri="{FF2B5EF4-FFF2-40B4-BE49-F238E27FC236}">
                <a16:creationId xmlns:a16="http://schemas.microsoft.com/office/drawing/2014/main" id="{147B344E-1BE2-43B2-91FC-7DCCAEC332EA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35" name="Round Same-side Corner of Rectangle 79">
            <a:extLst>
              <a:ext uri="{FF2B5EF4-FFF2-40B4-BE49-F238E27FC236}">
                <a16:creationId xmlns:a16="http://schemas.microsoft.com/office/drawing/2014/main" id="{FF544925-9759-442E-9618-8AD533DF6569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TextBox 37">
            <a:hlinkClick r:id="" action="ppaction://noaction"/>
            <a:extLst>
              <a:ext uri="{FF2B5EF4-FFF2-40B4-BE49-F238E27FC236}">
                <a16:creationId xmlns:a16="http://schemas.microsoft.com/office/drawing/2014/main" id="{8EC6817D-04BB-4C9E-8230-C7166EF03087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9" name="Round Same-side Corner of Rectangle 79">
            <a:extLst>
              <a:ext uri="{FF2B5EF4-FFF2-40B4-BE49-F238E27FC236}">
                <a16:creationId xmlns:a16="http://schemas.microsoft.com/office/drawing/2014/main" id="{16C7ACC5-5825-4843-ADB6-A9C3BE1C3C69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0" name="Round Same-side Corner of Rectangle 79">
            <a:extLst>
              <a:ext uri="{FF2B5EF4-FFF2-40B4-BE49-F238E27FC236}">
                <a16:creationId xmlns:a16="http://schemas.microsoft.com/office/drawing/2014/main" id="{BEB0BD52-7998-47C6-8DDD-D806373BE125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1" name="TextBox 40">
            <a:hlinkClick r:id="" action="ppaction://noaction"/>
            <a:extLst>
              <a:ext uri="{FF2B5EF4-FFF2-40B4-BE49-F238E27FC236}">
                <a16:creationId xmlns:a16="http://schemas.microsoft.com/office/drawing/2014/main" id="{8CF99FEE-19AD-40F7-BA7B-E6EBD6495459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42" name="Round Same-side Corner of Rectangle 79">
            <a:extLst>
              <a:ext uri="{FF2B5EF4-FFF2-40B4-BE49-F238E27FC236}">
                <a16:creationId xmlns:a16="http://schemas.microsoft.com/office/drawing/2014/main" id="{F52BA67D-2D31-43F9-84F3-CEF3D723E802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3" name="TextBox 42">
            <a:hlinkClick r:id="" action="ppaction://noaction"/>
            <a:extLst>
              <a:ext uri="{FF2B5EF4-FFF2-40B4-BE49-F238E27FC236}">
                <a16:creationId xmlns:a16="http://schemas.microsoft.com/office/drawing/2014/main" id="{35A3F299-417D-40F9-9248-072AEE9388BB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769D3822-D008-47D7-BB20-7AABBE67603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CA552C88-FA7B-4DC5-980B-0027339F2D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6" name="Freeform 25">
            <a:extLst>
              <a:ext uri="{FF2B5EF4-FFF2-40B4-BE49-F238E27FC236}">
                <a16:creationId xmlns:a16="http://schemas.microsoft.com/office/drawing/2014/main" id="{B7657F0E-E6CB-4194-B896-7088FC43489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7" name="Round Same-side Corner of Rectangle 79">
            <a:extLst>
              <a:ext uri="{FF2B5EF4-FFF2-40B4-BE49-F238E27FC236}">
                <a16:creationId xmlns:a16="http://schemas.microsoft.com/office/drawing/2014/main" id="{2D9988AB-E77E-4A55-AB5D-BF9B375CC9D1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8" name="TextBox 47">
            <a:hlinkClick r:id="" action="ppaction://noaction"/>
            <a:extLst>
              <a:ext uri="{FF2B5EF4-FFF2-40B4-BE49-F238E27FC236}">
                <a16:creationId xmlns:a16="http://schemas.microsoft.com/office/drawing/2014/main" id="{45A75B1A-5DD5-459F-9081-6F553D823D81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49" name="Freeform 21">
            <a:extLst>
              <a:ext uri="{FF2B5EF4-FFF2-40B4-BE49-F238E27FC236}">
                <a16:creationId xmlns:a16="http://schemas.microsoft.com/office/drawing/2014/main" id="{11F1736E-3802-480A-981B-3FCCB556CEF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50" name="Graphic 28" descr="List">
            <a:extLst>
              <a:ext uri="{FF2B5EF4-FFF2-40B4-BE49-F238E27FC236}">
                <a16:creationId xmlns:a16="http://schemas.microsoft.com/office/drawing/2014/main" id="{0906BE2F-80AD-4763-BF95-C5047043CD9C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AB077B1-44AC-45F5-A4AE-359530135E2C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64C05DE-505A-4D58-A342-D1F4DFD84E3C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73ADBE9-A8BD-43D3-B86C-3377571D421B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6CFAFAB-7F73-45F6-887D-999A30F5B12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E4A5E27-4304-4D07-8788-99A58E333CFE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5481595-AC5D-4F0C-97B1-38B9F5B0F81F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604F2D-9053-47E5-B0E7-C6BF3AEEB331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F5E971A-BD44-42B4-91BC-156E6D98C48D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7B748FF-BE9E-43B5-BBD3-ADE0482A7224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6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F736608C-EF04-4056-9ADA-A66E7FF62424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E3FF6605-1A30-4594-8A51-4A9AFFD73BFA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2AE7701-90A0-4A17-8737-B9E69CEC5436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7A76432-3794-46BB-BCDC-79A6F5542830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734339-3B7B-498C-9E69-E4F594A9C423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6077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bbreviataions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A24BABF-905D-4FE9-A70E-D80E25FCE4F2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38E70A-AB57-4D32-A2DC-A19C438AB79B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3" y="1493479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BEF0042-5916-4E3E-8FD7-5A6200245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9117A3AE-B593-49CE-8EF5-30C8284ACBA5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1" name="Round Same-side Corner of Rectangle 79">
            <a:extLst>
              <a:ext uri="{FF2B5EF4-FFF2-40B4-BE49-F238E27FC236}">
                <a16:creationId xmlns:a16="http://schemas.microsoft.com/office/drawing/2014/main" id="{4270BB2A-4433-483A-B317-9895D066C01B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" name="TextBox 21">
            <a:hlinkClick r:id="" action="ppaction://noaction"/>
            <a:extLst>
              <a:ext uri="{FF2B5EF4-FFF2-40B4-BE49-F238E27FC236}">
                <a16:creationId xmlns:a16="http://schemas.microsoft.com/office/drawing/2014/main" id="{7FAD614A-E6A4-43FF-B216-2F235FEE4AE8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3" name="Round Same-side Corner of Rectangle 79">
            <a:extLst>
              <a:ext uri="{FF2B5EF4-FFF2-40B4-BE49-F238E27FC236}">
                <a16:creationId xmlns:a16="http://schemas.microsoft.com/office/drawing/2014/main" id="{13B9C9E1-B307-400F-AEC8-C1106B34E1B7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Round Same-side Corner of Rectangle 79">
            <a:extLst>
              <a:ext uri="{FF2B5EF4-FFF2-40B4-BE49-F238E27FC236}">
                <a16:creationId xmlns:a16="http://schemas.microsoft.com/office/drawing/2014/main" id="{3CB6185E-CE10-46E4-BC8F-B3D3DA6EFB0D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A14399E8-C824-4227-B524-20C236335E08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06131A3E-0D75-444A-A209-B12352A17ECE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TextBox 26">
            <a:hlinkClick r:id="" action="ppaction://noaction"/>
            <a:extLst>
              <a:ext uri="{FF2B5EF4-FFF2-40B4-BE49-F238E27FC236}">
                <a16:creationId xmlns:a16="http://schemas.microsoft.com/office/drawing/2014/main" id="{876971FC-9FDF-4E4F-BB05-B6A42FE4F8FE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A209221A-07F5-4216-B9A2-CF864495A5F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C037EB1-29C3-4B2C-AAB2-6B68795358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0" name="Freeform 25">
            <a:extLst>
              <a:ext uri="{FF2B5EF4-FFF2-40B4-BE49-F238E27FC236}">
                <a16:creationId xmlns:a16="http://schemas.microsoft.com/office/drawing/2014/main" id="{5C9228F0-11BC-4DF9-8EE3-D493C96579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1" name="Round Same-side Corner of Rectangle 79">
            <a:extLst>
              <a:ext uri="{FF2B5EF4-FFF2-40B4-BE49-F238E27FC236}">
                <a16:creationId xmlns:a16="http://schemas.microsoft.com/office/drawing/2014/main" id="{C5EFD175-10D3-4477-B5C9-F04124A08133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AADD3716-499D-45D8-B8B2-96017935FCBA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34" name="Freeform 21">
            <a:extLst>
              <a:ext uri="{FF2B5EF4-FFF2-40B4-BE49-F238E27FC236}">
                <a16:creationId xmlns:a16="http://schemas.microsoft.com/office/drawing/2014/main" id="{42BF0978-3F6D-47C6-B4D5-95C500FFED3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5" name="Graphic 28" descr="List">
            <a:extLst>
              <a:ext uri="{FF2B5EF4-FFF2-40B4-BE49-F238E27FC236}">
                <a16:creationId xmlns:a16="http://schemas.microsoft.com/office/drawing/2014/main" id="{DBD112FA-B174-40AB-BA33-EE7927D64080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D42DD06-72B3-4F21-AFAB-3A5CFF14CACF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69327DC-0495-4270-9D82-A07F6135E796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AC8800E-AC88-4505-A24E-3C695AA13063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46688CE-4A96-46D5-9B4D-F3577DA3959E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F26DE68-E040-44C5-B8A9-5C7A0A75848F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4C0877E-EBD7-40D5-B1EF-AF2C9480E944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A689BA8-D8A9-48E1-AE08-E6A9ED636FB4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85C1E96-38A5-4A1B-8489-6CACFFB007E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79C5303-C9AE-4CEC-A331-2C82BBD5229C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45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006FB331-C148-460B-B29B-0BAD3E1287DF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6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AE3C262B-0E06-4239-903F-41A6685D52D5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8C7831B-0464-4B72-8FA0-AAA90BA9A68E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BBDD19-AFCF-4C43-B311-7BCDE288E2DA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BCCCE03-7832-4C20-ACBD-CBE606937CD5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2847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97066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31574C6-D4D3-4BAF-900D-A4FD36E2CF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843403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8BDD16-868E-4629-B9B5-D3C7BA311815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0FE1DCF6-7D13-42BE-98D7-5DFFFCE21F5F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DF6D206-C4B9-4283-A973-5C5E77508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B4F7263-7D3E-43F3-96B0-D8B6BD2068F6}"/>
              </a:ext>
            </a:extLst>
          </p:cNvPr>
          <p:cNvSpPr/>
          <p:nvPr userDrawn="1"/>
        </p:nvSpPr>
        <p:spPr>
          <a:xfrm>
            <a:off x="558654" y="706397"/>
            <a:ext cx="4983452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Freeform 21">
            <a:extLst>
              <a:ext uri="{FF2B5EF4-FFF2-40B4-BE49-F238E27FC236}">
                <a16:creationId xmlns:a16="http://schemas.microsoft.com/office/drawing/2014/main" id="{5D903035-2E15-47C5-A201-D28A1669FE6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99655" y="854083"/>
            <a:ext cx="626599" cy="679783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EA8C209-8738-49F8-A30B-C946B36284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0" name="Round Same-side Corner of Rectangle 79">
            <a:hlinkClick r:id="rId6" action="ppaction://hlinksldjump"/>
            <a:extLst>
              <a:ext uri="{FF2B5EF4-FFF2-40B4-BE49-F238E27FC236}">
                <a16:creationId xmlns:a16="http://schemas.microsoft.com/office/drawing/2014/main" id="{AF09D07C-017F-403D-BFF8-B3B1D4BB95D1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27704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87F15BE-164B-442E-A210-EE21F3EA6CCE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029B0A-0876-4E54-A238-F13CB43FCCC9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ound Same-side Corner of Rectangle 79">
            <a:extLst>
              <a:ext uri="{FF2B5EF4-FFF2-40B4-BE49-F238E27FC236}">
                <a16:creationId xmlns:a16="http://schemas.microsoft.com/office/drawing/2014/main" id="{B053A3D1-00EC-4B64-BF76-B324A2F5D7F2}"/>
              </a:ext>
            </a:extLst>
          </p:cNvPr>
          <p:cNvSpPr/>
          <p:nvPr userDrawn="1"/>
        </p:nvSpPr>
        <p:spPr>
          <a:xfrm rot="5400000">
            <a:off x="11223833" y="1876808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18C523DF-B1F6-4590-AE63-AB5B485A30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71399" indent="-171399">
              <a:spcBef>
                <a:spcPts val="600"/>
              </a:spcBef>
              <a:buFont typeface="+mj-lt"/>
              <a:buAutoNum type="arabicPeriod"/>
              <a:defRPr sz="1050"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•"/>
              <a:defRPr sz="1000"/>
            </a:lvl3pPr>
            <a:lvl4pPr marL="798273" indent="-169812">
              <a:spcBef>
                <a:spcPts val="400"/>
              </a:spcBef>
              <a:defRPr sz="900"/>
            </a:lvl4pPr>
            <a:lvl5pPr marL="1144245" indent="-115853">
              <a:spcBef>
                <a:spcPts val="200"/>
              </a:spcBef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2AFDDF88-6A10-4E07-9687-0E538E73D8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5515DED4-7336-491F-A6AE-0839FCA07D69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B383C82D-702D-49E7-8A0E-2579821FD193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TextBox 26">
            <a:hlinkClick r:id="" action="ppaction://noaction"/>
            <a:extLst>
              <a:ext uri="{FF2B5EF4-FFF2-40B4-BE49-F238E27FC236}">
                <a16:creationId xmlns:a16="http://schemas.microsoft.com/office/drawing/2014/main" id="{77AFD66C-E57F-4CA3-BF6D-E1A9229F126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8" name="Round Same-side Corner of Rectangle 79">
            <a:extLst>
              <a:ext uri="{FF2B5EF4-FFF2-40B4-BE49-F238E27FC236}">
                <a16:creationId xmlns:a16="http://schemas.microsoft.com/office/drawing/2014/main" id="{44489E23-F6AF-4BEA-BAD3-010A5D9CE09C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9" name="Round Same-side Corner of Rectangle 79">
            <a:extLst>
              <a:ext uri="{FF2B5EF4-FFF2-40B4-BE49-F238E27FC236}">
                <a16:creationId xmlns:a16="http://schemas.microsoft.com/office/drawing/2014/main" id="{4D6D822A-3868-44BD-BD6B-31F220820701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0" name="TextBox 29">
            <a:hlinkClick r:id="" action="ppaction://noaction"/>
            <a:extLst>
              <a:ext uri="{FF2B5EF4-FFF2-40B4-BE49-F238E27FC236}">
                <a16:creationId xmlns:a16="http://schemas.microsoft.com/office/drawing/2014/main" id="{0AED0FF2-5799-456D-93DD-960D860DEABE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31" name="Round Same-side Corner of Rectangle 79">
            <a:extLst>
              <a:ext uri="{FF2B5EF4-FFF2-40B4-BE49-F238E27FC236}">
                <a16:creationId xmlns:a16="http://schemas.microsoft.com/office/drawing/2014/main" id="{B3A37D8F-E80E-4E55-A04F-6B774AEDCC2A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45E4603E-214B-44C8-B7DA-48861F665902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5E0ADBCB-E05D-4DEF-8104-3171F79AEFF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70FB591B-EA80-42BD-AA63-3820CC0D8C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5" name="Freeform 25">
            <a:extLst>
              <a:ext uri="{FF2B5EF4-FFF2-40B4-BE49-F238E27FC236}">
                <a16:creationId xmlns:a16="http://schemas.microsoft.com/office/drawing/2014/main" id="{CCC56BC0-4D6C-4CEF-AAE7-91CF0FEBDE1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6" name="Round Same-side Corner of Rectangle 79">
            <a:extLst>
              <a:ext uri="{FF2B5EF4-FFF2-40B4-BE49-F238E27FC236}">
                <a16:creationId xmlns:a16="http://schemas.microsoft.com/office/drawing/2014/main" id="{A52C452F-83AC-4663-BFF0-09434F8259FE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7" name="TextBox 36">
            <a:hlinkClick r:id="" action="ppaction://noaction"/>
            <a:extLst>
              <a:ext uri="{FF2B5EF4-FFF2-40B4-BE49-F238E27FC236}">
                <a16:creationId xmlns:a16="http://schemas.microsoft.com/office/drawing/2014/main" id="{DD8EAE57-BC74-47E6-9405-1B787B333721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EF3977FA-FD3F-4B7E-997D-C4FD7DBBC26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9" name="Graphic 28" descr="List">
            <a:extLst>
              <a:ext uri="{FF2B5EF4-FFF2-40B4-BE49-F238E27FC236}">
                <a16:creationId xmlns:a16="http://schemas.microsoft.com/office/drawing/2014/main" id="{C8A52097-C040-4AAC-8B66-C9644C3DF272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2AD25A4-4BE0-444E-8265-2E95F5A003B2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14C5994-B19E-4986-A1DD-A6E00B201CC9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21250C9-D46F-4451-B82C-EEA316FC03DC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9039DFA-B48E-4822-91DE-E0D65CB3943F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E99FEB7-9851-4E85-BC08-ED57AB58B16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5EA4F3C-B221-4677-8E3F-B6C6ED1005D7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EF5EA74-1987-4096-A786-DE33649BAF9C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D30D4EA-09B2-4071-9DFD-F38FB0837938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A338BC7-0F8D-47E2-B8C2-B7F4E01F1857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49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712FFEFD-24A9-4DA1-87D0-0C556CDBF63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0069BB20-A499-4F38-AFA5-0F009952A191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2166E68-10C6-4212-BBB1-7E4D02FCE667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D00C599-53D9-4F03-B221-41643F95E167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CE81D37-F079-4C9E-88A6-EE04491F774A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8825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707" y="914400"/>
            <a:ext cx="11223876" cy="54315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A7E2AD1-BF9E-4522-8D70-F45E521D91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707" y="6329713"/>
            <a:ext cx="9963592" cy="31598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274588638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B86C0C9-AB2B-41F3-9201-5002B66CB8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707" y="6329713"/>
            <a:ext cx="9963592" cy="31598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54865758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39081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58592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ain Title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0BF000D-E145-4361-AF4E-127D78E92A9E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453" y="674190"/>
            <a:ext cx="10248963" cy="2852737"/>
          </a:xfrm>
        </p:spPr>
        <p:txBody>
          <a:bodyPr anchor="b"/>
          <a:lstStyle>
            <a:lvl1pPr algn="l"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3453" y="3792161"/>
            <a:ext cx="10248963" cy="1500187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7604C0-61BF-4798-B843-009FAC0EE149}"/>
              </a:ext>
            </a:extLst>
          </p:cNvPr>
          <p:cNvSpPr/>
          <p:nvPr userDrawn="1"/>
        </p:nvSpPr>
        <p:spPr>
          <a:xfrm>
            <a:off x="12050373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EFA03DD-64D9-4B47-80B5-1AF32901A741}"/>
              </a:ext>
            </a:extLst>
          </p:cNvPr>
          <p:cNvSpPr/>
          <p:nvPr userDrawn="1"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309840-91AB-4C66-94CD-DBA446B53D4B}"/>
              </a:ext>
            </a:extLst>
          </p:cNvPr>
          <p:cNvCxnSpPr>
            <a:cxnSpLocks/>
          </p:cNvCxnSpPr>
          <p:nvPr userDrawn="1"/>
        </p:nvCxnSpPr>
        <p:spPr>
          <a:xfrm>
            <a:off x="1324037" y="3645839"/>
            <a:ext cx="212432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3F163C6F-8241-4517-B3D0-E5CA455564A4}"/>
              </a:ext>
            </a:extLst>
          </p:cNvPr>
          <p:cNvSpPr/>
          <p:nvPr userDrawn="1"/>
        </p:nvSpPr>
        <p:spPr>
          <a:xfrm>
            <a:off x="406294" y="6705600"/>
            <a:ext cx="11376237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EDA845-42EA-4BE0-B4D1-F23E18BDA3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2578" y="6345913"/>
            <a:ext cx="638115" cy="37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930013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83045-6CB7-4C88-8A4E-57AB94F29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73FB9-336B-4823-A4F3-D036E71CE9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6319838"/>
            <a:ext cx="10406527" cy="347662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7370806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7936" indent="-7936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251265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6348" indent="-6348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564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533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307593"/>
            <a:ext cx="11292840" cy="4325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6348" indent="-6348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4098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igation 1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C4A93A-2CC3-A7B5-39A7-7B3E51642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7C151-F43C-8DAF-213F-C60CF6025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30784-4464-9D2D-E7BB-4DFBEE4C7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B62BA-FEC3-4D30-A579-9FFC05D5D28E}" type="slidenum">
              <a:rPr lang="en-GB" smtClean="0"/>
              <a:t>‹#›</a:t>
            </a:fld>
            <a:endParaRPr lang="en-GB"/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7DDF2A6C-8BBE-1837-AE57-6B55A2B95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3951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7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42103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8864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image" Target="../media/image6.emf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tags" Target="../tags/tag17.xml"/><Relationship Id="rId8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91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92.xml"/><Relationship Id="rId8" Type="http://schemas.openxmlformats.org/officeDocument/2006/relationships/slideLayout" Target="../slideLayouts/slideLayout52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pl-PL"/>
              <a:t>Kliknij, aby edytować styl</a:t>
            </a:r>
            <a:endParaRPr lang="en-US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F9F93DF4-D19B-46BE-B88F-8BB1DA82CA3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5" name="Google Shape;52;p7">
            <a:extLst>
              <a:ext uri="{FF2B5EF4-FFF2-40B4-BE49-F238E27FC236}">
                <a16:creationId xmlns:a16="http://schemas.microsoft.com/office/drawing/2014/main" id="{32B9580A-B465-4E15-BAF0-0919554158D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05B5027-9C8E-4D3E-B630-4D23F5F13B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rgbClr val="0000C9"/>
                </a:solidFill>
              </a:rPr>
              <a:t>Business Group</a:t>
            </a:r>
            <a:r>
              <a:rPr lang="en-US" sz="800" b="0">
                <a:solidFill>
                  <a:srgbClr val="0000C9"/>
                </a:solidFill>
              </a:rPr>
              <a:t>  Business Subgroup</a:t>
            </a:r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1431905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txStyles>
    <p:titleStyle>
      <a:lvl1pPr algn="l" defTabSz="914126" rtl="0" eaLnBrk="1" latinLnBrk="0" hangingPunct="1">
        <a:lnSpc>
          <a:spcPct val="85000"/>
        </a:lnSpc>
        <a:spcBef>
          <a:spcPts val="0"/>
        </a:spcBef>
        <a:buNone/>
        <a:defRPr lang="en-US" sz="2699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999"/>
        </a:spcBef>
        <a:buClrTx/>
        <a:buSzPct val="100000"/>
        <a:buFont typeface="Arial" panose="020B0604020202020204" pitchFamily="34" charset="0"/>
        <a:buChar char="•"/>
        <a:defRPr lang="en-US" sz="1999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063" indent="-169812" algn="l" defTabSz="914126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indent="-171399" algn="l" defTabSz="914126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126" indent="-171399" algn="l" defTabSz="914126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8698" indent="-114266" algn="l" defTabSz="914126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39C13F-A6FE-595E-3467-1A4F63903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54893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239C13F-A6FE-595E-3467-1A4F63903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F9F93DF4-D19B-46BE-B88F-8BB1DA82CA3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5" name="Google Shape;52;p7">
            <a:extLst>
              <a:ext uri="{FF2B5EF4-FFF2-40B4-BE49-F238E27FC236}">
                <a16:creationId xmlns:a16="http://schemas.microsoft.com/office/drawing/2014/main" id="{32B9580A-B465-4E15-BAF0-0919554158D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05B5027-9C8E-4D3E-B630-4D23F5F13B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2265814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30"/>
    </p:custDataLst>
    <p:extLst>
      <p:ext uri="{BB962C8B-B14F-4D97-AF65-F5344CB8AC3E}">
        <p14:creationId xmlns:p14="http://schemas.microsoft.com/office/powerpoint/2010/main" val="3813564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6" r:id="rId21"/>
    <p:sldLayoutId id="2147483717" r:id="rId22"/>
    <p:sldLayoutId id="2147483766" r:id="rId23"/>
    <p:sldLayoutId id="2147483781" r:id="rId24"/>
    <p:sldLayoutId id="2147483782" r:id="rId25"/>
    <p:sldLayoutId id="2147483783" r:id="rId26"/>
    <p:sldLayoutId id="2147483785" r:id="rId27"/>
    <p:sldLayoutId id="2147483787" r:id="rId28"/>
  </p:sldLayoutIdLst>
  <p:hf sldNum="0" hdr="0" ftr="0" dt="0"/>
  <p:txStyles>
    <p:titleStyle>
      <a:lvl1pPr algn="l" defTabSz="914126" rtl="0" eaLnBrk="1" latinLnBrk="0" hangingPunct="1">
        <a:lnSpc>
          <a:spcPct val="85000"/>
        </a:lnSpc>
        <a:spcBef>
          <a:spcPts val="0"/>
        </a:spcBef>
        <a:buNone/>
        <a:defRPr lang="en-US" sz="2699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999"/>
        </a:spcBef>
        <a:buClrTx/>
        <a:buSzPct val="100000"/>
        <a:buFont typeface="Arial" panose="020B0604020202020204" pitchFamily="34" charset="0"/>
        <a:buChar char="•"/>
        <a:defRPr lang="en-US" sz="1999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063" indent="-169812" algn="l" defTabSz="914126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indent="-171399" algn="l" defTabSz="914126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126" indent="-171399" algn="l" defTabSz="914126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8698" indent="-114266" algn="l" defTabSz="914126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6707" y="31810"/>
            <a:ext cx="11514361" cy="7220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6708" y="914400"/>
            <a:ext cx="9876068" cy="5431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AA80-6355-4A91-850F-1C70787FE457}"/>
              </a:ext>
            </a:extLst>
          </p:cNvPr>
          <p:cNvSpPr/>
          <p:nvPr userDrawn="1"/>
        </p:nvSpPr>
        <p:spPr>
          <a:xfrm>
            <a:off x="0" y="0"/>
            <a:ext cx="30472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90E294-D3F9-460C-B82F-006AE2F53000}"/>
              </a:ext>
            </a:extLst>
          </p:cNvPr>
          <p:cNvSpPr/>
          <p:nvPr userDrawn="1"/>
        </p:nvSpPr>
        <p:spPr>
          <a:xfrm>
            <a:off x="282891" y="0"/>
            <a:ext cx="45707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D517DA44-36FB-44B2-8A6D-64F80339A648}"/>
              </a:ext>
            </a:extLst>
          </p:cNvPr>
          <p:cNvSpPr/>
          <p:nvPr/>
        </p:nvSpPr>
        <p:spPr>
          <a:xfrm>
            <a:off x="0" y="141675"/>
            <a:ext cx="197040" cy="6853152"/>
          </a:xfrm>
          <a:custGeom>
            <a:avLst/>
            <a:gdLst>
              <a:gd name="connsiteX0" fmla="*/ 0 w 197091"/>
              <a:gd name="connsiteY0" fmla="*/ 6807432 h 6853152"/>
              <a:gd name="connsiteX1" fmla="*/ 42166 w 197091"/>
              <a:gd name="connsiteY1" fmla="*/ 6807432 h 6853152"/>
              <a:gd name="connsiteX2" fmla="*/ 65026 w 197091"/>
              <a:gd name="connsiteY2" fmla="*/ 6830292 h 6853152"/>
              <a:gd name="connsiteX3" fmla="*/ 65025 w 197091"/>
              <a:gd name="connsiteY3" fmla="*/ 6830292 h 6853152"/>
              <a:gd name="connsiteX4" fmla="*/ 42165 w 197091"/>
              <a:gd name="connsiteY4" fmla="*/ 6853152 h 6853152"/>
              <a:gd name="connsiteX5" fmla="*/ 0 w 197091"/>
              <a:gd name="connsiteY5" fmla="*/ 6853152 h 6853152"/>
              <a:gd name="connsiteX6" fmla="*/ 0 w 197091"/>
              <a:gd name="connsiteY6" fmla="*/ 6653904 h 6853152"/>
              <a:gd name="connsiteX7" fmla="*/ 97193 w 197091"/>
              <a:gd name="connsiteY7" fmla="*/ 6653904 h 6853152"/>
              <a:gd name="connsiteX8" fmla="*/ 120053 w 197091"/>
              <a:gd name="connsiteY8" fmla="*/ 6676764 h 6853152"/>
              <a:gd name="connsiteX9" fmla="*/ 120052 w 197091"/>
              <a:gd name="connsiteY9" fmla="*/ 6676764 h 6853152"/>
              <a:gd name="connsiteX10" fmla="*/ 97192 w 197091"/>
              <a:gd name="connsiteY10" fmla="*/ 6699624 h 6853152"/>
              <a:gd name="connsiteX11" fmla="*/ 0 w 197091"/>
              <a:gd name="connsiteY11" fmla="*/ 6699624 h 6853152"/>
              <a:gd name="connsiteX12" fmla="*/ 0 w 197091"/>
              <a:gd name="connsiteY12" fmla="*/ 6500376 h 6853152"/>
              <a:gd name="connsiteX13" fmla="*/ 42166 w 197091"/>
              <a:gd name="connsiteY13" fmla="*/ 6500376 h 6853152"/>
              <a:gd name="connsiteX14" fmla="*/ 65026 w 197091"/>
              <a:gd name="connsiteY14" fmla="*/ 6523236 h 6853152"/>
              <a:gd name="connsiteX15" fmla="*/ 65025 w 197091"/>
              <a:gd name="connsiteY15" fmla="*/ 6523236 h 6853152"/>
              <a:gd name="connsiteX16" fmla="*/ 42165 w 197091"/>
              <a:gd name="connsiteY16" fmla="*/ 6546096 h 6853152"/>
              <a:gd name="connsiteX17" fmla="*/ 0 w 197091"/>
              <a:gd name="connsiteY17" fmla="*/ 6546096 h 6853152"/>
              <a:gd name="connsiteX18" fmla="*/ 0 w 197091"/>
              <a:gd name="connsiteY18" fmla="*/ 6302593 h 6853152"/>
              <a:gd name="connsiteX19" fmla="*/ 152104 w 197091"/>
              <a:gd name="connsiteY19" fmla="*/ 6302593 h 6853152"/>
              <a:gd name="connsiteX20" fmla="*/ 197091 w 197091"/>
              <a:gd name="connsiteY20" fmla="*/ 6347580 h 6853152"/>
              <a:gd name="connsiteX21" fmla="*/ 152104 w 197091"/>
              <a:gd name="connsiteY21" fmla="*/ 6392567 h 6853152"/>
              <a:gd name="connsiteX22" fmla="*/ 0 w 197091"/>
              <a:gd name="connsiteY22" fmla="*/ 6392567 h 6853152"/>
              <a:gd name="connsiteX23" fmla="*/ 0 w 197091"/>
              <a:gd name="connsiteY23" fmla="*/ 6124757 h 6853152"/>
              <a:gd name="connsiteX24" fmla="*/ 42166 w 197091"/>
              <a:gd name="connsiteY24" fmla="*/ 6124757 h 6853152"/>
              <a:gd name="connsiteX25" fmla="*/ 65026 w 197091"/>
              <a:gd name="connsiteY25" fmla="*/ 6147617 h 6853152"/>
              <a:gd name="connsiteX26" fmla="*/ 65025 w 197091"/>
              <a:gd name="connsiteY26" fmla="*/ 6147617 h 6853152"/>
              <a:gd name="connsiteX27" fmla="*/ 42165 w 197091"/>
              <a:gd name="connsiteY27" fmla="*/ 6170477 h 6853152"/>
              <a:gd name="connsiteX28" fmla="*/ 0 w 197091"/>
              <a:gd name="connsiteY28" fmla="*/ 6170477 h 6853152"/>
              <a:gd name="connsiteX29" fmla="*/ 0 w 197091"/>
              <a:gd name="connsiteY29" fmla="*/ 5971229 h 6853152"/>
              <a:gd name="connsiteX30" fmla="*/ 97193 w 197091"/>
              <a:gd name="connsiteY30" fmla="*/ 5971229 h 6853152"/>
              <a:gd name="connsiteX31" fmla="*/ 120053 w 197091"/>
              <a:gd name="connsiteY31" fmla="*/ 5994089 h 6853152"/>
              <a:gd name="connsiteX32" fmla="*/ 120052 w 197091"/>
              <a:gd name="connsiteY32" fmla="*/ 5994089 h 6853152"/>
              <a:gd name="connsiteX33" fmla="*/ 97192 w 197091"/>
              <a:gd name="connsiteY33" fmla="*/ 6016949 h 6853152"/>
              <a:gd name="connsiteX34" fmla="*/ 0 w 197091"/>
              <a:gd name="connsiteY34" fmla="*/ 6016949 h 6853152"/>
              <a:gd name="connsiteX35" fmla="*/ 0 w 197091"/>
              <a:gd name="connsiteY35" fmla="*/ 5817701 h 6853152"/>
              <a:gd name="connsiteX36" fmla="*/ 42166 w 197091"/>
              <a:gd name="connsiteY36" fmla="*/ 5817701 h 6853152"/>
              <a:gd name="connsiteX37" fmla="*/ 65026 w 197091"/>
              <a:gd name="connsiteY37" fmla="*/ 5840561 h 6853152"/>
              <a:gd name="connsiteX38" fmla="*/ 65025 w 197091"/>
              <a:gd name="connsiteY38" fmla="*/ 5840561 h 6853152"/>
              <a:gd name="connsiteX39" fmla="*/ 42165 w 197091"/>
              <a:gd name="connsiteY39" fmla="*/ 5863421 h 6853152"/>
              <a:gd name="connsiteX40" fmla="*/ 0 w 197091"/>
              <a:gd name="connsiteY40" fmla="*/ 5863421 h 6853152"/>
              <a:gd name="connsiteX41" fmla="*/ 0 w 197091"/>
              <a:gd name="connsiteY41" fmla="*/ 5619918 h 6853152"/>
              <a:gd name="connsiteX42" fmla="*/ 152104 w 197091"/>
              <a:gd name="connsiteY42" fmla="*/ 5619918 h 6853152"/>
              <a:gd name="connsiteX43" fmla="*/ 197091 w 197091"/>
              <a:gd name="connsiteY43" fmla="*/ 5664905 h 6853152"/>
              <a:gd name="connsiteX44" fmla="*/ 152104 w 197091"/>
              <a:gd name="connsiteY44" fmla="*/ 5709892 h 6853152"/>
              <a:gd name="connsiteX45" fmla="*/ 0 w 197091"/>
              <a:gd name="connsiteY45" fmla="*/ 5709892 h 6853152"/>
              <a:gd name="connsiteX46" fmla="*/ 0 w 197091"/>
              <a:gd name="connsiteY46" fmla="*/ 5442079 h 6853152"/>
              <a:gd name="connsiteX47" fmla="*/ 42166 w 197091"/>
              <a:gd name="connsiteY47" fmla="*/ 5442079 h 6853152"/>
              <a:gd name="connsiteX48" fmla="*/ 65026 w 197091"/>
              <a:gd name="connsiteY48" fmla="*/ 5464939 h 6853152"/>
              <a:gd name="connsiteX49" fmla="*/ 65025 w 197091"/>
              <a:gd name="connsiteY49" fmla="*/ 5464939 h 6853152"/>
              <a:gd name="connsiteX50" fmla="*/ 42165 w 197091"/>
              <a:gd name="connsiteY50" fmla="*/ 5487799 h 6853152"/>
              <a:gd name="connsiteX51" fmla="*/ 0 w 197091"/>
              <a:gd name="connsiteY51" fmla="*/ 5487799 h 6853152"/>
              <a:gd name="connsiteX52" fmla="*/ 0 w 197091"/>
              <a:gd name="connsiteY52" fmla="*/ 5288551 h 6853152"/>
              <a:gd name="connsiteX53" fmla="*/ 97193 w 197091"/>
              <a:gd name="connsiteY53" fmla="*/ 5288551 h 6853152"/>
              <a:gd name="connsiteX54" fmla="*/ 120053 w 197091"/>
              <a:gd name="connsiteY54" fmla="*/ 5311411 h 6853152"/>
              <a:gd name="connsiteX55" fmla="*/ 120052 w 197091"/>
              <a:gd name="connsiteY55" fmla="*/ 5311411 h 6853152"/>
              <a:gd name="connsiteX56" fmla="*/ 97192 w 197091"/>
              <a:gd name="connsiteY56" fmla="*/ 5334271 h 6853152"/>
              <a:gd name="connsiteX57" fmla="*/ 0 w 197091"/>
              <a:gd name="connsiteY57" fmla="*/ 5334271 h 6853152"/>
              <a:gd name="connsiteX58" fmla="*/ 0 w 197091"/>
              <a:gd name="connsiteY58" fmla="*/ 5135023 h 6853152"/>
              <a:gd name="connsiteX59" fmla="*/ 42166 w 197091"/>
              <a:gd name="connsiteY59" fmla="*/ 5135023 h 6853152"/>
              <a:gd name="connsiteX60" fmla="*/ 65026 w 197091"/>
              <a:gd name="connsiteY60" fmla="*/ 5157883 h 6853152"/>
              <a:gd name="connsiteX61" fmla="*/ 65025 w 197091"/>
              <a:gd name="connsiteY61" fmla="*/ 5157883 h 6853152"/>
              <a:gd name="connsiteX62" fmla="*/ 42165 w 197091"/>
              <a:gd name="connsiteY62" fmla="*/ 5180743 h 6853152"/>
              <a:gd name="connsiteX63" fmla="*/ 0 w 197091"/>
              <a:gd name="connsiteY63" fmla="*/ 5180743 h 6853152"/>
              <a:gd name="connsiteX64" fmla="*/ 0 w 197091"/>
              <a:gd name="connsiteY64" fmla="*/ 4937240 h 6853152"/>
              <a:gd name="connsiteX65" fmla="*/ 152104 w 197091"/>
              <a:gd name="connsiteY65" fmla="*/ 4937240 h 6853152"/>
              <a:gd name="connsiteX66" fmla="*/ 197091 w 197091"/>
              <a:gd name="connsiteY66" fmla="*/ 4982227 h 6853152"/>
              <a:gd name="connsiteX67" fmla="*/ 152104 w 197091"/>
              <a:gd name="connsiteY67" fmla="*/ 5027214 h 6853152"/>
              <a:gd name="connsiteX68" fmla="*/ 0 w 197091"/>
              <a:gd name="connsiteY68" fmla="*/ 5027214 h 6853152"/>
              <a:gd name="connsiteX69" fmla="*/ 0 w 197091"/>
              <a:gd name="connsiteY69" fmla="*/ 4759401 h 6853152"/>
              <a:gd name="connsiteX70" fmla="*/ 42166 w 197091"/>
              <a:gd name="connsiteY70" fmla="*/ 4759401 h 6853152"/>
              <a:gd name="connsiteX71" fmla="*/ 65026 w 197091"/>
              <a:gd name="connsiteY71" fmla="*/ 4782261 h 6853152"/>
              <a:gd name="connsiteX72" fmla="*/ 65025 w 197091"/>
              <a:gd name="connsiteY72" fmla="*/ 4782261 h 6853152"/>
              <a:gd name="connsiteX73" fmla="*/ 42165 w 197091"/>
              <a:gd name="connsiteY73" fmla="*/ 4805121 h 6853152"/>
              <a:gd name="connsiteX74" fmla="*/ 0 w 197091"/>
              <a:gd name="connsiteY74" fmla="*/ 4805121 h 6853152"/>
              <a:gd name="connsiteX75" fmla="*/ 0 w 197091"/>
              <a:gd name="connsiteY75" fmla="*/ 4605873 h 6853152"/>
              <a:gd name="connsiteX76" fmla="*/ 97193 w 197091"/>
              <a:gd name="connsiteY76" fmla="*/ 4605873 h 6853152"/>
              <a:gd name="connsiteX77" fmla="*/ 120053 w 197091"/>
              <a:gd name="connsiteY77" fmla="*/ 4628733 h 6853152"/>
              <a:gd name="connsiteX78" fmla="*/ 120052 w 197091"/>
              <a:gd name="connsiteY78" fmla="*/ 4628733 h 6853152"/>
              <a:gd name="connsiteX79" fmla="*/ 97192 w 197091"/>
              <a:gd name="connsiteY79" fmla="*/ 4651593 h 6853152"/>
              <a:gd name="connsiteX80" fmla="*/ 0 w 197091"/>
              <a:gd name="connsiteY80" fmla="*/ 4651593 h 6853152"/>
              <a:gd name="connsiteX81" fmla="*/ 0 w 197091"/>
              <a:gd name="connsiteY81" fmla="*/ 4452345 h 6853152"/>
              <a:gd name="connsiteX82" fmla="*/ 42166 w 197091"/>
              <a:gd name="connsiteY82" fmla="*/ 4452345 h 6853152"/>
              <a:gd name="connsiteX83" fmla="*/ 65026 w 197091"/>
              <a:gd name="connsiteY83" fmla="*/ 4475205 h 6853152"/>
              <a:gd name="connsiteX84" fmla="*/ 65025 w 197091"/>
              <a:gd name="connsiteY84" fmla="*/ 4475205 h 6853152"/>
              <a:gd name="connsiteX85" fmla="*/ 42165 w 197091"/>
              <a:gd name="connsiteY85" fmla="*/ 4498065 h 6853152"/>
              <a:gd name="connsiteX86" fmla="*/ 0 w 197091"/>
              <a:gd name="connsiteY86" fmla="*/ 4498065 h 6853152"/>
              <a:gd name="connsiteX87" fmla="*/ 0 w 197091"/>
              <a:gd name="connsiteY87" fmla="*/ 4254562 h 6853152"/>
              <a:gd name="connsiteX88" fmla="*/ 152104 w 197091"/>
              <a:gd name="connsiteY88" fmla="*/ 4254562 h 6853152"/>
              <a:gd name="connsiteX89" fmla="*/ 197091 w 197091"/>
              <a:gd name="connsiteY89" fmla="*/ 4299549 h 6853152"/>
              <a:gd name="connsiteX90" fmla="*/ 152104 w 197091"/>
              <a:gd name="connsiteY90" fmla="*/ 4344536 h 6853152"/>
              <a:gd name="connsiteX91" fmla="*/ 0 w 197091"/>
              <a:gd name="connsiteY91" fmla="*/ 4344536 h 6853152"/>
              <a:gd name="connsiteX92" fmla="*/ 0 w 197091"/>
              <a:gd name="connsiteY92" fmla="*/ 4076723 h 6853152"/>
              <a:gd name="connsiteX93" fmla="*/ 42166 w 197091"/>
              <a:gd name="connsiteY93" fmla="*/ 4076723 h 6853152"/>
              <a:gd name="connsiteX94" fmla="*/ 65026 w 197091"/>
              <a:gd name="connsiteY94" fmla="*/ 4099583 h 6853152"/>
              <a:gd name="connsiteX95" fmla="*/ 65025 w 197091"/>
              <a:gd name="connsiteY95" fmla="*/ 4099583 h 6853152"/>
              <a:gd name="connsiteX96" fmla="*/ 42165 w 197091"/>
              <a:gd name="connsiteY96" fmla="*/ 4122443 h 6853152"/>
              <a:gd name="connsiteX97" fmla="*/ 0 w 197091"/>
              <a:gd name="connsiteY97" fmla="*/ 4122443 h 6853152"/>
              <a:gd name="connsiteX98" fmla="*/ 0 w 197091"/>
              <a:gd name="connsiteY98" fmla="*/ 3923195 h 6853152"/>
              <a:gd name="connsiteX99" fmla="*/ 97193 w 197091"/>
              <a:gd name="connsiteY99" fmla="*/ 3923195 h 6853152"/>
              <a:gd name="connsiteX100" fmla="*/ 120053 w 197091"/>
              <a:gd name="connsiteY100" fmla="*/ 3946055 h 6853152"/>
              <a:gd name="connsiteX101" fmla="*/ 120052 w 197091"/>
              <a:gd name="connsiteY101" fmla="*/ 3946055 h 6853152"/>
              <a:gd name="connsiteX102" fmla="*/ 97192 w 197091"/>
              <a:gd name="connsiteY102" fmla="*/ 3968915 h 6853152"/>
              <a:gd name="connsiteX103" fmla="*/ 0 w 197091"/>
              <a:gd name="connsiteY103" fmla="*/ 3968915 h 6853152"/>
              <a:gd name="connsiteX104" fmla="*/ 0 w 197091"/>
              <a:gd name="connsiteY104" fmla="*/ 3769667 h 6853152"/>
              <a:gd name="connsiteX105" fmla="*/ 42166 w 197091"/>
              <a:gd name="connsiteY105" fmla="*/ 3769667 h 6853152"/>
              <a:gd name="connsiteX106" fmla="*/ 65026 w 197091"/>
              <a:gd name="connsiteY106" fmla="*/ 3792527 h 6853152"/>
              <a:gd name="connsiteX107" fmla="*/ 65025 w 197091"/>
              <a:gd name="connsiteY107" fmla="*/ 3792527 h 6853152"/>
              <a:gd name="connsiteX108" fmla="*/ 42165 w 197091"/>
              <a:gd name="connsiteY108" fmla="*/ 3815387 h 6853152"/>
              <a:gd name="connsiteX109" fmla="*/ 0 w 197091"/>
              <a:gd name="connsiteY109" fmla="*/ 3815387 h 6853152"/>
              <a:gd name="connsiteX110" fmla="*/ 0 w 197091"/>
              <a:gd name="connsiteY110" fmla="*/ 3571884 h 6853152"/>
              <a:gd name="connsiteX111" fmla="*/ 152104 w 197091"/>
              <a:gd name="connsiteY111" fmla="*/ 3571884 h 6853152"/>
              <a:gd name="connsiteX112" fmla="*/ 197091 w 197091"/>
              <a:gd name="connsiteY112" fmla="*/ 3616871 h 6853152"/>
              <a:gd name="connsiteX113" fmla="*/ 152104 w 197091"/>
              <a:gd name="connsiteY113" fmla="*/ 3661858 h 6853152"/>
              <a:gd name="connsiteX114" fmla="*/ 0 w 197091"/>
              <a:gd name="connsiteY114" fmla="*/ 3661858 h 6853152"/>
              <a:gd name="connsiteX115" fmla="*/ 0 w 197091"/>
              <a:gd name="connsiteY115" fmla="*/ 3394045 h 6853152"/>
              <a:gd name="connsiteX116" fmla="*/ 42166 w 197091"/>
              <a:gd name="connsiteY116" fmla="*/ 3394045 h 6853152"/>
              <a:gd name="connsiteX117" fmla="*/ 65026 w 197091"/>
              <a:gd name="connsiteY117" fmla="*/ 3416905 h 6853152"/>
              <a:gd name="connsiteX118" fmla="*/ 65025 w 197091"/>
              <a:gd name="connsiteY118" fmla="*/ 3416905 h 6853152"/>
              <a:gd name="connsiteX119" fmla="*/ 42165 w 197091"/>
              <a:gd name="connsiteY119" fmla="*/ 3439765 h 6853152"/>
              <a:gd name="connsiteX120" fmla="*/ 0 w 197091"/>
              <a:gd name="connsiteY120" fmla="*/ 3439765 h 6853152"/>
              <a:gd name="connsiteX121" fmla="*/ 0 w 197091"/>
              <a:gd name="connsiteY121" fmla="*/ 3240518 h 6853152"/>
              <a:gd name="connsiteX122" fmla="*/ 97193 w 197091"/>
              <a:gd name="connsiteY122" fmla="*/ 3240518 h 6853152"/>
              <a:gd name="connsiteX123" fmla="*/ 120053 w 197091"/>
              <a:gd name="connsiteY123" fmla="*/ 3263377 h 6853152"/>
              <a:gd name="connsiteX124" fmla="*/ 120052 w 197091"/>
              <a:gd name="connsiteY124" fmla="*/ 3263377 h 6853152"/>
              <a:gd name="connsiteX125" fmla="*/ 97192 w 197091"/>
              <a:gd name="connsiteY125" fmla="*/ 3286237 h 6853152"/>
              <a:gd name="connsiteX126" fmla="*/ 0 w 197091"/>
              <a:gd name="connsiteY126" fmla="*/ 3286237 h 6853152"/>
              <a:gd name="connsiteX127" fmla="*/ 0 w 197091"/>
              <a:gd name="connsiteY127" fmla="*/ 3086989 h 6853152"/>
              <a:gd name="connsiteX128" fmla="*/ 42166 w 197091"/>
              <a:gd name="connsiteY128" fmla="*/ 3086989 h 6853152"/>
              <a:gd name="connsiteX129" fmla="*/ 65026 w 197091"/>
              <a:gd name="connsiteY129" fmla="*/ 3109849 h 6853152"/>
              <a:gd name="connsiteX130" fmla="*/ 65025 w 197091"/>
              <a:gd name="connsiteY130" fmla="*/ 3109849 h 6853152"/>
              <a:gd name="connsiteX131" fmla="*/ 42165 w 197091"/>
              <a:gd name="connsiteY131" fmla="*/ 3132710 h 6853152"/>
              <a:gd name="connsiteX132" fmla="*/ 0 w 197091"/>
              <a:gd name="connsiteY132" fmla="*/ 3132710 h 6853152"/>
              <a:gd name="connsiteX133" fmla="*/ 0 w 197091"/>
              <a:gd name="connsiteY133" fmla="*/ 2889207 h 6853152"/>
              <a:gd name="connsiteX134" fmla="*/ 152104 w 197091"/>
              <a:gd name="connsiteY134" fmla="*/ 2889207 h 6853152"/>
              <a:gd name="connsiteX135" fmla="*/ 197091 w 197091"/>
              <a:gd name="connsiteY135" fmla="*/ 2934193 h 6853152"/>
              <a:gd name="connsiteX136" fmla="*/ 152104 w 197091"/>
              <a:gd name="connsiteY136" fmla="*/ 2979180 h 6853152"/>
              <a:gd name="connsiteX137" fmla="*/ 0 w 197091"/>
              <a:gd name="connsiteY137" fmla="*/ 2979180 h 6853152"/>
              <a:gd name="connsiteX138" fmla="*/ 0 w 197091"/>
              <a:gd name="connsiteY138" fmla="*/ 2711368 h 6853152"/>
              <a:gd name="connsiteX139" fmla="*/ 42166 w 197091"/>
              <a:gd name="connsiteY139" fmla="*/ 2711368 h 6853152"/>
              <a:gd name="connsiteX140" fmla="*/ 65026 w 197091"/>
              <a:gd name="connsiteY140" fmla="*/ 2734227 h 6853152"/>
              <a:gd name="connsiteX141" fmla="*/ 65025 w 197091"/>
              <a:gd name="connsiteY141" fmla="*/ 2734227 h 6853152"/>
              <a:gd name="connsiteX142" fmla="*/ 42165 w 197091"/>
              <a:gd name="connsiteY142" fmla="*/ 2757087 h 6853152"/>
              <a:gd name="connsiteX143" fmla="*/ 0 w 197091"/>
              <a:gd name="connsiteY143" fmla="*/ 2757087 h 6853152"/>
              <a:gd name="connsiteX144" fmla="*/ 0 w 197091"/>
              <a:gd name="connsiteY144" fmla="*/ 2557839 h 6853152"/>
              <a:gd name="connsiteX145" fmla="*/ 97193 w 197091"/>
              <a:gd name="connsiteY145" fmla="*/ 2557839 h 6853152"/>
              <a:gd name="connsiteX146" fmla="*/ 120053 w 197091"/>
              <a:gd name="connsiteY146" fmla="*/ 2580699 h 6853152"/>
              <a:gd name="connsiteX147" fmla="*/ 120052 w 197091"/>
              <a:gd name="connsiteY147" fmla="*/ 2580699 h 6853152"/>
              <a:gd name="connsiteX148" fmla="*/ 97192 w 197091"/>
              <a:gd name="connsiteY148" fmla="*/ 2603560 h 6853152"/>
              <a:gd name="connsiteX149" fmla="*/ 0 w 197091"/>
              <a:gd name="connsiteY149" fmla="*/ 2603560 h 6853152"/>
              <a:gd name="connsiteX150" fmla="*/ 0 w 197091"/>
              <a:gd name="connsiteY150" fmla="*/ 2404311 h 6853152"/>
              <a:gd name="connsiteX151" fmla="*/ 42166 w 197091"/>
              <a:gd name="connsiteY151" fmla="*/ 2404311 h 6853152"/>
              <a:gd name="connsiteX152" fmla="*/ 65026 w 197091"/>
              <a:gd name="connsiteY152" fmla="*/ 2427172 h 6853152"/>
              <a:gd name="connsiteX153" fmla="*/ 65025 w 197091"/>
              <a:gd name="connsiteY153" fmla="*/ 2427172 h 6853152"/>
              <a:gd name="connsiteX154" fmla="*/ 42165 w 197091"/>
              <a:gd name="connsiteY154" fmla="*/ 2450031 h 6853152"/>
              <a:gd name="connsiteX155" fmla="*/ 0 w 197091"/>
              <a:gd name="connsiteY155" fmla="*/ 2450031 h 6853152"/>
              <a:gd name="connsiteX156" fmla="*/ 0 w 197091"/>
              <a:gd name="connsiteY156" fmla="*/ 2206529 h 6853152"/>
              <a:gd name="connsiteX157" fmla="*/ 152104 w 197091"/>
              <a:gd name="connsiteY157" fmla="*/ 2206529 h 6853152"/>
              <a:gd name="connsiteX158" fmla="*/ 197091 w 197091"/>
              <a:gd name="connsiteY158" fmla="*/ 2251515 h 6853152"/>
              <a:gd name="connsiteX159" fmla="*/ 152104 w 197091"/>
              <a:gd name="connsiteY159" fmla="*/ 2296502 h 6853152"/>
              <a:gd name="connsiteX160" fmla="*/ 0 w 197091"/>
              <a:gd name="connsiteY160" fmla="*/ 2296502 h 6853152"/>
              <a:gd name="connsiteX161" fmla="*/ 0 w 197091"/>
              <a:gd name="connsiteY161" fmla="*/ 2028689 h 6853152"/>
              <a:gd name="connsiteX162" fmla="*/ 42166 w 197091"/>
              <a:gd name="connsiteY162" fmla="*/ 2028689 h 6853152"/>
              <a:gd name="connsiteX163" fmla="*/ 65026 w 197091"/>
              <a:gd name="connsiteY163" fmla="*/ 2051549 h 6853152"/>
              <a:gd name="connsiteX164" fmla="*/ 65025 w 197091"/>
              <a:gd name="connsiteY164" fmla="*/ 2051549 h 6853152"/>
              <a:gd name="connsiteX165" fmla="*/ 42165 w 197091"/>
              <a:gd name="connsiteY165" fmla="*/ 2074410 h 6853152"/>
              <a:gd name="connsiteX166" fmla="*/ 0 w 197091"/>
              <a:gd name="connsiteY166" fmla="*/ 2074410 h 6853152"/>
              <a:gd name="connsiteX167" fmla="*/ 0 w 197091"/>
              <a:gd name="connsiteY167" fmla="*/ 1875163 h 6853152"/>
              <a:gd name="connsiteX168" fmla="*/ 97193 w 197091"/>
              <a:gd name="connsiteY168" fmla="*/ 1875163 h 6853152"/>
              <a:gd name="connsiteX169" fmla="*/ 120053 w 197091"/>
              <a:gd name="connsiteY169" fmla="*/ 1898022 h 6853152"/>
              <a:gd name="connsiteX170" fmla="*/ 120052 w 197091"/>
              <a:gd name="connsiteY170" fmla="*/ 1898022 h 6853152"/>
              <a:gd name="connsiteX171" fmla="*/ 97192 w 197091"/>
              <a:gd name="connsiteY171" fmla="*/ 1920882 h 6853152"/>
              <a:gd name="connsiteX172" fmla="*/ 0 w 197091"/>
              <a:gd name="connsiteY172" fmla="*/ 1920882 h 6853152"/>
              <a:gd name="connsiteX173" fmla="*/ 0 w 197091"/>
              <a:gd name="connsiteY173" fmla="*/ 1721635 h 6853152"/>
              <a:gd name="connsiteX174" fmla="*/ 42166 w 197091"/>
              <a:gd name="connsiteY174" fmla="*/ 1721635 h 6853152"/>
              <a:gd name="connsiteX175" fmla="*/ 65026 w 197091"/>
              <a:gd name="connsiteY175" fmla="*/ 1744495 h 6853152"/>
              <a:gd name="connsiteX176" fmla="*/ 65025 w 197091"/>
              <a:gd name="connsiteY176" fmla="*/ 1744495 h 6853152"/>
              <a:gd name="connsiteX177" fmla="*/ 42165 w 197091"/>
              <a:gd name="connsiteY177" fmla="*/ 1767355 h 6853152"/>
              <a:gd name="connsiteX178" fmla="*/ 0 w 197091"/>
              <a:gd name="connsiteY178" fmla="*/ 1767355 h 6853152"/>
              <a:gd name="connsiteX179" fmla="*/ 0 w 197091"/>
              <a:gd name="connsiteY179" fmla="*/ 1523852 h 6853152"/>
              <a:gd name="connsiteX180" fmla="*/ 152104 w 197091"/>
              <a:gd name="connsiteY180" fmla="*/ 1523852 h 6853152"/>
              <a:gd name="connsiteX181" fmla="*/ 197091 w 197091"/>
              <a:gd name="connsiteY181" fmla="*/ 1568839 h 6853152"/>
              <a:gd name="connsiteX182" fmla="*/ 152104 w 197091"/>
              <a:gd name="connsiteY182" fmla="*/ 1613826 h 6853152"/>
              <a:gd name="connsiteX183" fmla="*/ 0 w 197091"/>
              <a:gd name="connsiteY183" fmla="*/ 1613826 h 6853152"/>
              <a:gd name="connsiteX184" fmla="*/ 0 w 197091"/>
              <a:gd name="connsiteY184" fmla="*/ 1346013 h 6853152"/>
              <a:gd name="connsiteX185" fmla="*/ 42166 w 197091"/>
              <a:gd name="connsiteY185" fmla="*/ 1346013 h 6853152"/>
              <a:gd name="connsiteX186" fmla="*/ 65026 w 197091"/>
              <a:gd name="connsiteY186" fmla="*/ 1368873 h 6853152"/>
              <a:gd name="connsiteX187" fmla="*/ 65025 w 197091"/>
              <a:gd name="connsiteY187" fmla="*/ 1368873 h 6853152"/>
              <a:gd name="connsiteX188" fmla="*/ 42165 w 197091"/>
              <a:gd name="connsiteY188" fmla="*/ 1391733 h 6853152"/>
              <a:gd name="connsiteX189" fmla="*/ 0 w 197091"/>
              <a:gd name="connsiteY189" fmla="*/ 1391733 h 6853152"/>
              <a:gd name="connsiteX190" fmla="*/ 0 w 197091"/>
              <a:gd name="connsiteY190" fmla="*/ 1192485 h 6853152"/>
              <a:gd name="connsiteX191" fmla="*/ 97193 w 197091"/>
              <a:gd name="connsiteY191" fmla="*/ 1192485 h 6853152"/>
              <a:gd name="connsiteX192" fmla="*/ 120053 w 197091"/>
              <a:gd name="connsiteY192" fmla="*/ 1215345 h 6853152"/>
              <a:gd name="connsiteX193" fmla="*/ 120052 w 197091"/>
              <a:gd name="connsiteY193" fmla="*/ 1215345 h 6853152"/>
              <a:gd name="connsiteX194" fmla="*/ 97192 w 197091"/>
              <a:gd name="connsiteY194" fmla="*/ 1238205 h 6853152"/>
              <a:gd name="connsiteX195" fmla="*/ 0 w 197091"/>
              <a:gd name="connsiteY195" fmla="*/ 1238205 h 6853152"/>
              <a:gd name="connsiteX196" fmla="*/ 0 w 197091"/>
              <a:gd name="connsiteY196" fmla="*/ 1038956 h 6853152"/>
              <a:gd name="connsiteX197" fmla="*/ 42166 w 197091"/>
              <a:gd name="connsiteY197" fmla="*/ 1038956 h 6853152"/>
              <a:gd name="connsiteX198" fmla="*/ 65026 w 197091"/>
              <a:gd name="connsiteY198" fmla="*/ 1061816 h 6853152"/>
              <a:gd name="connsiteX199" fmla="*/ 65025 w 197091"/>
              <a:gd name="connsiteY199" fmla="*/ 1061816 h 6853152"/>
              <a:gd name="connsiteX200" fmla="*/ 42165 w 197091"/>
              <a:gd name="connsiteY200" fmla="*/ 1084676 h 6853152"/>
              <a:gd name="connsiteX201" fmla="*/ 0 w 197091"/>
              <a:gd name="connsiteY201" fmla="*/ 1084676 h 6853152"/>
              <a:gd name="connsiteX202" fmla="*/ 0 w 197091"/>
              <a:gd name="connsiteY202" fmla="*/ 841174 h 6853152"/>
              <a:gd name="connsiteX203" fmla="*/ 152104 w 197091"/>
              <a:gd name="connsiteY203" fmla="*/ 841174 h 6853152"/>
              <a:gd name="connsiteX204" fmla="*/ 197091 w 197091"/>
              <a:gd name="connsiteY204" fmla="*/ 886161 h 6853152"/>
              <a:gd name="connsiteX205" fmla="*/ 152104 w 197091"/>
              <a:gd name="connsiteY205" fmla="*/ 931148 h 6853152"/>
              <a:gd name="connsiteX206" fmla="*/ 0 w 197091"/>
              <a:gd name="connsiteY206" fmla="*/ 931148 h 6853152"/>
              <a:gd name="connsiteX207" fmla="*/ 0 w 197091"/>
              <a:gd name="connsiteY207" fmla="*/ 663335 h 6853152"/>
              <a:gd name="connsiteX208" fmla="*/ 42166 w 197091"/>
              <a:gd name="connsiteY208" fmla="*/ 663335 h 6853152"/>
              <a:gd name="connsiteX209" fmla="*/ 65026 w 197091"/>
              <a:gd name="connsiteY209" fmla="*/ 686195 h 6853152"/>
              <a:gd name="connsiteX210" fmla="*/ 65025 w 197091"/>
              <a:gd name="connsiteY210" fmla="*/ 686195 h 6853152"/>
              <a:gd name="connsiteX211" fmla="*/ 42165 w 197091"/>
              <a:gd name="connsiteY211" fmla="*/ 709055 h 6853152"/>
              <a:gd name="connsiteX212" fmla="*/ 0 w 197091"/>
              <a:gd name="connsiteY212" fmla="*/ 709055 h 6853152"/>
              <a:gd name="connsiteX213" fmla="*/ 0 w 197091"/>
              <a:gd name="connsiteY213" fmla="*/ 509807 h 6853152"/>
              <a:gd name="connsiteX214" fmla="*/ 97193 w 197091"/>
              <a:gd name="connsiteY214" fmla="*/ 509807 h 6853152"/>
              <a:gd name="connsiteX215" fmla="*/ 120053 w 197091"/>
              <a:gd name="connsiteY215" fmla="*/ 532667 h 6853152"/>
              <a:gd name="connsiteX216" fmla="*/ 120052 w 197091"/>
              <a:gd name="connsiteY216" fmla="*/ 532667 h 6853152"/>
              <a:gd name="connsiteX217" fmla="*/ 97192 w 197091"/>
              <a:gd name="connsiteY217" fmla="*/ 555527 h 6853152"/>
              <a:gd name="connsiteX218" fmla="*/ 0 w 197091"/>
              <a:gd name="connsiteY218" fmla="*/ 555527 h 6853152"/>
              <a:gd name="connsiteX219" fmla="*/ 0 w 197091"/>
              <a:gd name="connsiteY219" fmla="*/ 356279 h 6853152"/>
              <a:gd name="connsiteX220" fmla="*/ 42166 w 197091"/>
              <a:gd name="connsiteY220" fmla="*/ 356279 h 6853152"/>
              <a:gd name="connsiteX221" fmla="*/ 65026 w 197091"/>
              <a:gd name="connsiteY221" fmla="*/ 379139 h 6853152"/>
              <a:gd name="connsiteX222" fmla="*/ 65025 w 197091"/>
              <a:gd name="connsiteY222" fmla="*/ 379139 h 6853152"/>
              <a:gd name="connsiteX223" fmla="*/ 42165 w 197091"/>
              <a:gd name="connsiteY223" fmla="*/ 401999 h 6853152"/>
              <a:gd name="connsiteX224" fmla="*/ 0 w 197091"/>
              <a:gd name="connsiteY224" fmla="*/ 401999 h 6853152"/>
              <a:gd name="connsiteX225" fmla="*/ 0 w 197091"/>
              <a:gd name="connsiteY225" fmla="*/ 158496 h 6853152"/>
              <a:gd name="connsiteX226" fmla="*/ 152104 w 197091"/>
              <a:gd name="connsiteY226" fmla="*/ 158496 h 6853152"/>
              <a:gd name="connsiteX227" fmla="*/ 197091 w 197091"/>
              <a:gd name="connsiteY227" fmla="*/ 203483 h 6853152"/>
              <a:gd name="connsiteX228" fmla="*/ 152104 w 197091"/>
              <a:gd name="connsiteY228" fmla="*/ 248470 h 6853152"/>
              <a:gd name="connsiteX229" fmla="*/ 0 w 197091"/>
              <a:gd name="connsiteY229" fmla="*/ 248470 h 6853152"/>
              <a:gd name="connsiteX230" fmla="*/ 0 w 197091"/>
              <a:gd name="connsiteY230" fmla="*/ 0 h 6853152"/>
              <a:gd name="connsiteX231" fmla="*/ 42166 w 197091"/>
              <a:gd name="connsiteY231" fmla="*/ 0 h 6853152"/>
              <a:gd name="connsiteX232" fmla="*/ 65026 w 197091"/>
              <a:gd name="connsiteY232" fmla="*/ 22860 h 6853152"/>
              <a:gd name="connsiteX233" fmla="*/ 65025 w 197091"/>
              <a:gd name="connsiteY233" fmla="*/ 22860 h 6853152"/>
              <a:gd name="connsiteX234" fmla="*/ 42165 w 197091"/>
              <a:gd name="connsiteY234" fmla="*/ 45720 h 6853152"/>
              <a:gd name="connsiteX235" fmla="*/ 0 w 197091"/>
              <a:gd name="connsiteY235" fmla="*/ 45720 h 6853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97091" h="6853152">
                <a:moveTo>
                  <a:pt x="0" y="6807432"/>
                </a:moveTo>
                <a:lnTo>
                  <a:pt x="42166" y="6807432"/>
                </a:lnTo>
                <a:cubicBezTo>
                  <a:pt x="54791" y="6807432"/>
                  <a:pt x="65026" y="6817667"/>
                  <a:pt x="65026" y="6830292"/>
                </a:cubicBezTo>
                <a:lnTo>
                  <a:pt x="65025" y="6830292"/>
                </a:lnTo>
                <a:cubicBezTo>
                  <a:pt x="65025" y="6842917"/>
                  <a:pt x="54790" y="6853152"/>
                  <a:pt x="42165" y="6853152"/>
                </a:cubicBezTo>
                <a:lnTo>
                  <a:pt x="0" y="6853152"/>
                </a:lnTo>
                <a:close/>
                <a:moveTo>
                  <a:pt x="0" y="6653904"/>
                </a:moveTo>
                <a:lnTo>
                  <a:pt x="97193" y="6653904"/>
                </a:lnTo>
                <a:cubicBezTo>
                  <a:pt x="109818" y="6653904"/>
                  <a:pt x="120053" y="6664139"/>
                  <a:pt x="120053" y="6676764"/>
                </a:cubicBezTo>
                <a:lnTo>
                  <a:pt x="120052" y="6676764"/>
                </a:lnTo>
                <a:cubicBezTo>
                  <a:pt x="120052" y="6689389"/>
                  <a:pt x="109817" y="6699624"/>
                  <a:pt x="97192" y="6699624"/>
                </a:cubicBezTo>
                <a:lnTo>
                  <a:pt x="0" y="6699624"/>
                </a:lnTo>
                <a:close/>
                <a:moveTo>
                  <a:pt x="0" y="6500376"/>
                </a:moveTo>
                <a:lnTo>
                  <a:pt x="42166" y="6500376"/>
                </a:lnTo>
                <a:cubicBezTo>
                  <a:pt x="54791" y="6500376"/>
                  <a:pt x="65026" y="6510611"/>
                  <a:pt x="65026" y="6523236"/>
                </a:cubicBezTo>
                <a:lnTo>
                  <a:pt x="65025" y="6523236"/>
                </a:lnTo>
                <a:cubicBezTo>
                  <a:pt x="65025" y="6535861"/>
                  <a:pt x="54790" y="6546096"/>
                  <a:pt x="42165" y="6546096"/>
                </a:cubicBezTo>
                <a:lnTo>
                  <a:pt x="0" y="6546096"/>
                </a:lnTo>
                <a:close/>
                <a:moveTo>
                  <a:pt x="0" y="6302593"/>
                </a:moveTo>
                <a:lnTo>
                  <a:pt x="152104" y="6302593"/>
                </a:lnTo>
                <a:cubicBezTo>
                  <a:pt x="176950" y="6302593"/>
                  <a:pt x="197091" y="6322734"/>
                  <a:pt x="197091" y="6347580"/>
                </a:cubicBezTo>
                <a:cubicBezTo>
                  <a:pt x="197091" y="6372426"/>
                  <a:pt x="176950" y="6392567"/>
                  <a:pt x="152104" y="6392567"/>
                </a:cubicBezTo>
                <a:lnTo>
                  <a:pt x="0" y="6392567"/>
                </a:lnTo>
                <a:close/>
                <a:moveTo>
                  <a:pt x="0" y="6124757"/>
                </a:moveTo>
                <a:lnTo>
                  <a:pt x="42166" y="6124757"/>
                </a:lnTo>
                <a:cubicBezTo>
                  <a:pt x="54791" y="6124757"/>
                  <a:pt x="65026" y="6134992"/>
                  <a:pt x="65026" y="6147617"/>
                </a:cubicBezTo>
                <a:lnTo>
                  <a:pt x="65025" y="6147617"/>
                </a:lnTo>
                <a:cubicBezTo>
                  <a:pt x="65025" y="6160242"/>
                  <a:pt x="54790" y="6170477"/>
                  <a:pt x="42165" y="6170477"/>
                </a:cubicBezTo>
                <a:lnTo>
                  <a:pt x="0" y="6170477"/>
                </a:lnTo>
                <a:close/>
                <a:moveTo>
                  <a:pt x="0" y="5971229"/>
                </a:moveTo>
                <a:lnTo>
                  <a:pt x="97193" y="5971229"/>
                </a:lnTo>
                <a:cubicBezTo>
                  <a:pt x="109818" y="5971229"/>
                  <a:pt x="120053" y="5981464"/>
                  <a:pt x="120053" y="5994089"/>
                </a:cubicBezTo>
                <a:lnTo>
                  <a:pt x="120052" y="5994089"/>
                </a:lnTo>
                <a:cubicBezTo>
                  <a:pt x="120052" y="6006714"/>
                  <a:pt x="109817" y="6016949"/>
                  <a:pt x="97192" y="6016949"/>
                </a:cubicBezTo>
                <a:lnTo>
                  <a:pt x="0" y="6016949"/>
                </a:lnTo>
                <a:close/>
                <a:moveTo>
                  <a:pt x="0" y="5817701"/>
                </a:moveTo>
                <a:lnTo>
                  <a:pt x="42166" y="5817701"/>
                </a:lnTo>
                <a:cubicBezTo>
                  <a:pt x="54791" y="5817701"/>
                  <a:pt x="65026" y="5827936"/>
                  <a:pt x="65026" y="5840561"/>
                </a:cubicBezTo>
                <a:lnTo>
                  <a:pt x="65025" y="5840561"/>
                </a:lnTo>
                <a:cubicBezTo>
                  <a:pt x="65025" y="5853186"/>
                  <a:pt x="54790" y="5863421"/>
                  <a:pt x="42165" y="5863421"/>
                </a:cubicBezTo>
                <a:lnTo>
                  <a:pt x="0" y="5863421"/>
                </a:lnTo>
                <a:close/>
                <a:moveTo>
                  <a:pt x="0" y="5619918"/>
                </a:moveTo>
                <a:lnTo>
                  <a:pt x="152104" y="5619918"/>
                </a:lnTo>
                <a:cubicBezTo>
                  <a:pt x="176950" y="5619918"/>
                  <a:pt x="197091" y="5640059"/>
                  <a:pt x="197091" y="5664905"/>
                </a:cubicBezTo>
                <a:cubicBezTo>
                  <a:pt x="197091" y="5689751"/>
                  <a:pt x="176950" y="5709892"/>
                  <a:pt x="152104" y="5709892"/>
                </a:cubicBezTo>
                <a:lnTo>
                  <a:pt x="0" y="5709892"/>
                </a:lnTo>
                <a:close/>
                <a:moveTo>
                  <a:pt x="0" y="5442079"/>
                </a:moveTo>
                <a:lnTo>
                  <a:pt x="42166" y="5442079"/>
                </a:lnTo>
                <a:cubicBezTo>
                  <a:pt x="54791" y="5442079"/>
                  <a:pt x="65026" y="5452314"/>
                  <a:pt x="65026" y="5464939"/>
                </a:cubicBezTo>
                <a:lnTo>
                  <a:pt x="65025" y="5464939"/>
                </a:lnTo>
                <a:cubicBezTo>
                  <a:pt x="65025" y="5477564"/>
                  <a:pt x="54790" y="5487799"/>
                  <a:pt x="42165" y="5487799"/>
                </a:cubicBezTo>
                <a:lnTo>
                  <a:pt x="0" y="5487799"/>
                </a:lnTo>
                <a:close/>
                <a:moveTo>
                  <a:pt x="0" y="5288551"/>
                </a:moveTo>
                <a:lnTo>
                  <a:pt x="97193" y="5288551"/>
                </a:lnTo>
                <a:cubicBezTo>
                  <a:pt x="109818" y="5288551"/>
                  <a:pt x="120053" y="5298786"/>
                  <a:pt x="120053" y="5311411"/>
                </a:cubicBezTo>
                <a:lnTo>
                  <a:pt x="120052" y="5311411"/>
                </a:lnTo>
                <a:cubicBezTo>
                  <a:pt x="120052" y="5324036"/>
                  <a:pt x="109817" y="5334271"/>
                  <a:pt x="97192" y="5334271"/>
                </a:cubicBezTo>
                <a:lnTo>
                  <a:pt x="0" y="5334271"/>
                </a:lnTo>
                <a:close/>
                <a:moveTo>
                  <a:pt x="0" y="5135023"/>
                </a:moveTo>
                <a:lnTo>
                  <a:pt x="42166" y="5135023"/>
                </a:lnTo>
                <a:cubicBezTo>
                  <a:pt x="54791" y="5135023"/>
                  <a:pt x="65026" y="5145258"/>
                  <a:pt x="65026" y="5157883"/>
                </a:cubicBezTo>
                <a:lnTo>
                  <a:pt x="65025" y="5157883"/>
                </a:lnTo>
                <a:cubicBezTo>
                  <a:pt x="65025" y="5170508"/>
                  <a:pt x="54790" y="5180743"/>
                  <a:pt x="42165" y="5180743"/>
                </a:cubicBezTo>
                <a:lnTo>
                  <a:pt x="0" y="5180743"/>
                </a:lnTo>
                <a:close/>
                <a:moveTo>
                  <a:pt x="0" y="4937240"/>
                </a:moveTo>
                <a:lnTo>
                  <a:pt x="152104" y="4937240"/>
                </a:lnTo>
                <a:cubicBezTo>
                  <a:pt x="176950" y="4937240"/>
                  <a:pt x="197091" y="4957381"/>
                  <a:pt x="197091" y="4982227"/>
                </a:cubicBezTo>
                <a:cubicBezTo>
                  <a:pt x="197091" y="5007073"/>
                  <a:pt x="176950" y="5027214"/>
                  <a:pt x="152104" y="5027214"/>
                </a:cubicBezTo>
                <a:lnTo>
                  <a:pt x="0" y="5027214"/>
                </a:lnTo>
                <a:close/>
                <a:moveTo>
                  <a:pt x="0" y="4759401"/>
                </a:moveTo>
                <a:lnTo>
                  <a:pt x="42166" y="4759401"/>
                </a:lnTo>
                <a:cubicBezTo>
                  <a:pt x="54791" y="4759401"/>
                  <a:pt x="65026" y="4769636"/>
                  <a:pt x="65026" y="4782261"/>
                </a:cubicBezTo>
                <a:lnTo>
                  <a:pt x="65025" y="4782261"/>
                </a:lnTo>
                <a:cubicBezTo>
                  <a:pt x="65025" y="4794886"/>
                  <a:pt x="54790" y="4805121"/>
                  <a:pt x="42165" y="4805121"/>
                </a:cubicBezTo>
                <a:lnTo>
                  <a:pt x="0" y="4805121"/>
                </a:lnTo>
                <a:close/>
                <a:moveTo>
                  <a:pt x="0" y="4605873"/>
                </a:moveTo>
                <a:lnTo>
                  <a:pt x="97193" y="4605873"/>
                </a:lnTo>
                <a:cubicBezTo>
                  <a:pt x="109818" y="4605873"/>
                  <a:pt x="120053" y="4616108"/>
                  <a:pt x="120053" y="4628733"/>
                </a:cubicBezTo>
                <a:lnTo>
                  <a:pt x="120052" y="4628733"/>
                </a:lnTo>
                <a:cubicBezTo>
                  <a:pt x="120052" y="4641358"/>
                  <a:pt x="109817" y="4651593"/>
                  <a:pt x="97192" y="4651593"/>
                </a:cubicBezTo>
                <a:lnTo>
                  <a:pt x="0" y="4651593"/>
                </a:lnTo>
                <a:close/>
                <a:moveTo>
                  <a:pt x="0" y="4452345"/>
                </a:moveTo>
                <a:lnTo>
                  <a:pt x="42166" y="4452345"/>
                </a:lnTo>
                <a:cubicBezTo>
                  <a:pt x="54791" y="4452345"/>
                  <a:pt x="65026" y="4462580"/>
                  <a:pt x="65026" y="4475205"/>
                </a:cubicBezTo>
                <a:lnTo>
                  <a:pt x="65025" y="4475205"/>
                </a:lnTo>
                <a:cubicBezTo>
                  <a:pt x="65025" y="4487830"/>
                  <a:pt x="54790" y="4498065"/>
                  <a:pt x="42165" y="4498065"/>
                </a:cubicBezTo>
                <a:lnTo>
                  <a:pt x="0" y="4498065"/>
                </a:lnTo>
                <a:close/>
                <a:moveTo>
                  <a:pt x="0" y="4254562"/>
                </a:moveTo>
                <a:lnTo>
                  <a:pt x="152104" y="4254562"/>
                </a:lnTo>
                <a:cubicBezTo>
                  <a:pt x="176950" y="4254562"/>
                  <a:pt x="197091" y="4274703"/>
                  <a:pt x="197091" y="4299549"/>
                </a:cubicBezTo>
                <a:cubicBezTo>
                  <a:pt x="197091" y="4324395"/>
                  <a:pt x="176950" y="4344536"/>
                  <a:pt x="152104" y="4344536"/>
                </a:cubicBezTo>
                <a:lnTo>
                  <a:pt x="0" y="4344536"/>
                </a:lnTo>
                <a:close/>
                <a:moveTo>
                  <a:pt x="0" y="4076723"/>
                </a:moveTo>
                <a:lnTo>
                  <a:pt x="42166" y="4076723"/>
                </a:lnTo>
                <a:cubicBezTo>
                  <a:pt x="54791" y="4076723"/>
                  <a:pt x="65026" y="4086958"/>
                  <a:pt x="65026" y="4099583"/>
                </a:cubicBezTo>
                <a:lnTo>
                  <a:pt x="65025" y="4099583"/>
                </a:lnTo>
                <a:cubicBezTo>
                  <a:pt x="65025" y="4112208"/>
                  <a:pt x="54790" y="4122443"/>
                  <a:pt x="42165" y="4122443"/>
                </a:cubicBezTo>
                <a:lnTo>
                  <a:pt x="0" y="4122443"/>
                </a:lnTo>
                <a:close/>
                <a:moveTo>
                  <a:pt x="0" y="3923195"/>
                </a:moveTo>
                <a:lnTo>
                  <a:pt x="97193" y="3923195"/>
                </a:lnTo>
                <a:cubicBezTo>
                  <a:pt x="109818" y="3923195"/>
                  <a:pt x="120053" y="3933430"/>
                  <a:pt x="120053" y="3946055"/>
                </a:cubicBezTo>
                <a:lnTo>
                  <a:pt x="120052" y="3946055"/>
                </a:lnTo>
                <a:cubicBezTo>
                  <a:pt x="120052" y="3958680"/>
                  <a:pt x="109817" y="3968915"/>
                  <a:pt x="97192" y="3968915"/>
                </a:cubicBezTo>
                <a:lnTo>
                  <a:pt x="0" y="3968915"/>
                </a:lnTo>
                <a:close/>
                <a:moveTo>
                  <a:pt x="0" y="3769667"/>
                </a:moveTo>
                <a:lnTo>
                  <a:pt x="42166" y="3769667"/>
                </a:lnTo>
                <a:cubicBezTo>
                  <a:pt x="54791" y="3769667"/>
                  <a:pt x="65026" y="3779902"/>
                  <a:pt x="65026" y="3792527"/>
                </a:cubicBezTo>
                <a:lnTo>
                  <a:pt x="65025" y="3792527"/>
                </a:lnTo>
                <a:cubicBezTo>
                  <a:pt x="65025" y="3805152"/>
                  <a:pt x="54790" y="3815387"/>
                  <a:pt x="42165" y="3815387"/>
                </a:cubicBezTo>
                <a:lnTo>
                  <a:pt x="0" y="3815387"/>
                </a:lnTo>
                <a:close/>
                <a:moveTo>
                  <a:pt x="0" y="3571884"/>
                </a:moveTo>
                <a:lnTo>
                  <a:pt x="152104" y="3571884"/>
                </a:lnTo>
                <a:cubicBezTo>
                  <a:pt x="176950" y="3571884"/>
                  <a:pt x="197091" y="3592025"/>
                  <a:pt x="197091" y="3616871"/>
                </a:cubicBezTo>
                <a:cubicBezTo>
                  <a:pt x="197091" y="3641717"/>
                  <a:pt x="176950" y="3661858"/>
                  <a:pt x="152104" y="3661858"/>
                </a:cubicBezTo>
                <a:lnTo>
                  <a:pt x="0" y="3661858"/>
                </a:lnTo>
                <a:close/>
                <a:moveTo>
                  <a:pt x="0" y="3394045"/>
                </a:moveTo>
                <a:lnTo>
                  <a:pt x="42166" y="3394045"/>
                </a:lnTo>
                <a:cubicBezTo>
                  <a:pt x="54791" y="3394045"/>
                  <a:pt x="65026" y="3404280"/>
                  <a:pt x="65026" y="3416905"/>
                </a:cubicBezTo>
                <a:lnTo>
                  <a:pt x="65025" y="3416905"/>
                </a:lnTo>
                <a:cubicBezTo>
                  <a:pt x="65025" y="3429530"/>
                  <a:pt x="54790" y="3439765"/>
                  <a:pt x="42165" y="3439765"/>
                </a:cubicBezTo>
                <a:lnTo>
                  <a:pt x="0" y="3439765"/>
                </a:lnTo>
                <a:close/>
                <a:moveTo>
                  <a:pt x="0" y="3240518"/>
                </a:moveTo>
                <a:lnTo>
                  <a:pt x="97193" y="3240518"/>
                </a:lnTo>
                <a:cubicBezTo>
                  <a:pt x="109818" y="3240518"/>
                  <a:pt x="120053" y="3250752"/>
                  <a:pt x="120053" y="3263377"/>
                </a:cubicBezTo>
                <a:lnTo>
                  <a:pt x="120052" y="3263377"/>
                </a:lnTo>
                <a:cubicBezTo>
                  <a:pt x="120052" y="3276002"/>
                  <a:pt x="109817" y="3286237"/>
                  <a:pt x="97192" y="3286237"/>
                </a:cubicBezTo>
                <a:lnTo>
                  <a:pt x="0" y="3286237"/>
                </a:lnTo>
                <a:close/>
                <a:moveTo>
                  <a:pt x="0" y="3086989"/>
                </a:moveTo>
                <a:lnTo>
                  <a:pt x="42166" y="3086989"/>
                </a:lnTo>
                <a:cubicBezTo>
                  <a:pt x="54791" y="3086989"/>
                  <a:pt x="65026" y="3097224"/>
                  <a:pt x="65026" y="3109849"/>
                </a:cubicBezTo>
                <a:lnTo>
                  <a:pt x="65025" y="3109849"/>
                </a:lnTo>
                <a:cubicBezTo>
                  <a:pt x="65025" y="3122474"/>
                  <a:pt x="54790" y="3132710"/>
                  <a:pt x="42165" y="3132710"/>
                </a:cubicBezTo>
                <a:lnTo>
                  <a:pt x="0" y="3132710"/>
                </a:lnTo>
                <a:close/>
                <a:moveTo>
                  <a:pt x="0" y="2889207"/>
                </a:moveTo>
                <a:lnTo>
                  <a:pt x="152104" y="2889207"/>
                </a:lnTo>
                <a:cubicBezTo>
                  <a:pt x="176950" y="2889207"/>
                  <a:pt x="197091" y="2909347"/>
                  <a:pt x="197091" y="2934193"/>
                </a:cubicBezTo>
                <a:cubicBezTo>
                  <a:pt x="197091" y="2959039"/>
                  <a:pt x="176950" y="2979180"/>
                  <a:pt x="152104" y="2979180"/>
                </a:cubicBezTo>
                <a:lnTo>
                  <a:pt x="0" y="2979180"/>
                </a:lnTo>
                <a:close/>
                <a:moveTo>
                  <a:pt x="0" y="2711368"/>
                </a:moveTo>
                <a:lnTo>
                  <a:pt x="42166" y="2711368"/>
                </a:lnTo>
                <a:cubicBezTo>
                  <a:pt x="54791" y="2711368"/>
                  <a:pt x="65026" y="2721603"/>
                  <a:pt x="65026" y="2734227"/>
                </a:cubicBezTo>
                <a:lnTo>
                  <a:pt x="65025" y="2734227"/>
                </a:lnTo>
                <a:cubicBezTo>
                  <a:pt x="65025" y="2746852"/>
                  <a:pt x="54790" y="2757087"/>
                  <a:pt x="4216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97193" y="2557839"/>
                </a:lnTo>
                <a:cubicBezTo>
                  <a:pt x="109818" y="2557839"/>
                  <a:pt x="120053" y="2568074"/>
                  <a:pt x="120053" y="2580699"/>
                </a:cubicBezTo>
                <a:lnTo>
                  <a:pt x="120052" y="2580699"/>
                </a:lnTo>
                <a:cubicBezTo>
                  <a:pt x="120052" y="2593324"/>
                  <a:pt x="109817" y="2603560"/>
                  <a:pt x="97192" y="2603560"/>
                </a:cubicBezTo>
                <a:lnTo>
                  <a:pt x="0" y="2603560"/>
                </a:lnTo>
                <a:close/>
                <a:moveTo>
                  <a:pt x="0" y="2404311"/>
                </a:moveTo>
                <a:lnTo>
                  <a:pt x="42166" y="2404311"/>
                </a:lnTo>
                <a:cubicBezTo>
                  <a:pt x="54791" y="2404311"/>
                  <a:pt x="65026" y="2414546"/>
                  <a:pt x="65026" y="2427172"/>
                </a:cubicBezTo>
                <a:lnTo>
                  <a:pt x="65025" y="2427172"/>
                </a:lnTo>
                <a:cubicBezTo>
                  <a:pt x="65025" y="2439796"/>
                  <a:pt x="54790" y="2450031"/>
                  <a:pt x="42165" y="2450031"/>
                </a:cubicBezTo>
                <a:lnTo>
                  <a:pt x="0" y="2450031"/>
                </a:lnTo>
                <a:close/>
                <a:moveTo>
                  <a:pt x="0" y="2206529"/>
                </a:moveTo>
                <a:lnTo>
                  <a:pt x="152104" y="2206529"/>
                </a:lnTo>
                <a:cubicBezTo>
                  <a:pt x="176950" y="2206529"/>
                  <a:pt x="197091" y="2226669"/>
                  <a:pt x="197091" y="2251515"/>
                </a:cubicBezTo>
                <a:cubicBezTo>
                  <a:pt x="197091" y="2276361"/>
                  <a:pt x="176950" y="2296502"/>
                  <a:pt x="152104" y="2296502"/>
                </a:cubicBezTo>
                <a:lnTo>
                  <a:pt x="0" y="2296502"/>
                </a:lnTo>
                <a:close/>
                <a:moveTo>
                  <a:pt x="0" y="2028689"/>
                </a:moveTo>
                <a:lnTo>
                  <a:pt x="42166" y="2028689"/>
                </a:lnTo>
                <a:cubicBezTo>
                  <a:pt x="54791" y="2028689"/>
                  <a:pt x="65026" y="2038924"/>
                  <a:pt x="65026" y="2051549"/>
                </a:cubicBezTo>
                <a:lnTo>
                  <a:pt x="65025" y="2051549"/>
                </a:lnTo>
                <a:cubicBezTo>
                  <a:pt x="65025" y="2064175"/>
                  <a:pt x="54790" y="2074410"/>
                  <a:pt x="42165" y="2074410"/>
                </a:cubicBezTo>
                <a:lnTo>
                  <a:pt x="0" y="2074410"/>
                </a:lnTo>
                <a:close/>
                <a:moveTo>
                  <a:pt x="0" y="1875163"/>
                </a:moveTo>
                <a:lnTo>
                  <a:pt x="97193" y="1875163"/>
                </a:lnTo>
                <a:cubicBezTo>
                  <a:pt x="109818" y="1875163"/>
                  <a:pt x="120053" y="1885397"/>
                  <a:pt x="120053" y="1898022"/>
                </a:cubicBezTo>
                <a:lnTo>
                  <a:pt x="120052" y="1898022"/>
                </a:lnTo>
                <a:cubicBezTo>
                  <a:pt x="120052" y="1910648"/>
                  <a:pt x="109817" y="1920882"/>
                  <a:pt x="97192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42166" y="1721635"/>
                </a:lnTo>
                <a:cubicBezTo>
                  <a:pt x="54791" y="1721635"/>
                  <a:pt x="65026" y="1731869"/>
                  <a:pt x="65026" y="1744495"/>
                </a:cubicBezTo>
                <a:lnTo>
                  <a:pt x="65025" y="1744495"/>
                </a:lnTo>
                <a:cubicBezTo>
                  <a:pt x="65025" y="1757120"/>
                  <a:pt x="54790" y="1767355"/>
                  <a:pt x="42165" y="1767355"/>
                </a:cubicBezTo>
                <a:lnTo>
                  <a:pt x="0" y="1767355"/>
                </a:lnTo>
                <a:close/>
                <a:moveTo>
                  <a:pt x="0" y="1523852"/>
                </a:moveTo>
                <a:lnTo>
                  <a:pt x="152104" y="1523852"/>
                </a:lnTo>
                <a:cubicBezTo>
                  <a:pt x="176950" y="1523852"/>
                  <a:pt x="197091" y="1543993"/>
                  <a:pt x="197091" y="1568839"/>
                </a:cubicBezTo>
                <a:cubicBezTo>
                  <a:pt x="197091" y="1593684"/>
                  <a:pt x="176950" y="1613826"/>
                  <a:pt x="152104" y="1613826"/>
                </a:cubicBezTo>
                <a:lnTo>
                  <a:pt x="0" y="1613826"/>
                </a:lnTo>
                <a:close/>
                <a:moveTo>
                  <a:pt x="0" y="1346013"/>
                </a:moveTo>
                <a:lnTo>
                  <a:pt x="42166" y="1346013"/>
                </a:lnTo>
                <a:cubicBezTo>
                  <a:pt x="54791" y="1346013"/>
                  <a:pt x="65026" y="1356248"/>
                  <a:pt x="65026" y="1368873"/>
                </a:cubicBezTo>
                <a:lnTo>
                  <a:pt x="65025" y="1368873"/>
                </a:lnTo>
                <a:cubicBezTo>
                  <a:pt x="65025" y="1381498"/>
                  <a:pt x="54790" y="1391733"/>
                  <a:pt x="42165" y="1391733"/>
                </a:cubicBezTo>
                <a:lnTo>
                  <a:pt x="0" y="1391733"/>
                </a:lnTo>
                <a:close/>
                <a:moveTo>
                  <a:pt x="0" y="1192485"/>
                </a:moveTo>
                <a:lnTo>
                  <a:pt x="97193" y="1192485"/>
                </a:lnTo>
                <a:cubicBezTo>
                  <a:pt x="109818" y="1192485"/>
                  <a:pt x="120053" y="1202720"/>
                  <a:pt x="120053" y="1215345"/>
                </a:cubicBezTo>
                <a:lnTo>
                  <a:pt x="120052" y="1215345"/>
                </a:lnTo>
                <a:cubicBezTo>
                  <a:pt x="120052" y="1227970"/>
                  <a:pt x="109817" y="1238205"/>
                  <a:pt x="97192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42166" y="1038956"/>
                </a:lnTo>
                <a:cubicBezTo>
                  <a:pt x="54791" y="1038956"/>
                  <a:pt x="65026" y="1049192"/>
                  <a:pt x="65026" y="1061816"/>
                </a:cubicBezTo>
                <a:lnTo>
                  <a:pt x="65025" y="1061816"/>
                </a:lnTo>
                <a:cubicBezTo>
                  <a:pt x="65025" y="1074442"/>
                  <a:pt x="54790" y="1084676"/>
                  <a:pt x="42165" y="1084676"/>
                </a:cubicBezTo>
                <a:lnTo>
                  <a:pt x="0" y="1084676"/>
                </a:lnTo>
                <a:close/>
                <a:moveTo>
                  <a:pt x="0" y="841174"/>
                </a:moveTo>
                <a:lnTo>
                  <a:pt x="152104" y="841174"/>
                </a:lnTo>
                <a:cubicBezTo>
                  <a:pt x="176950" y="841174"/>
                  <a:pt x="197091" y="861315"/>
                  <a:pt x="197091" y="886161"/>
                </a:cubicBezTo>
                <a:cubicBezTo>
                  <a:pt x="197091" y="911007"/>
                  <a:pt x="176950" y="931148"/>
                  <a:pt x="152104" y="931148"/>
                </a:cubicBezTo>
                <a:lnTo>
                  <a:pt x="0" y="931148"/>
                </a:lnTo>
                <a:close/>
                <a:moveTo>
                  <a:pt x="0" y="663335"/>
                </a:moveTo>
                <a:lnTo>
                  <a:pt x="42166" y="663335"/>
                </a:lnTo>
                <a:cubicBezTo>
                  <a:pt x="54791" y="663335"/>
                  <a:pt x="65026" y="673570"/>
                  <a:pt x="65026" y="686195"/>
                </a:cubicBezTo>
                <a:lnTo>
                  <a:pt x="65025" y="686195"/>
                </a:lnTo>
                <a:cubicBezTo>
                  <a:pt x="65025" y="698820"/>
                  <a:pt x="54790" y="709055"/>
                  <a:pt x="42165" y="709055"/>
                </a:cubicBezTo>
                <a:lnTo>
                  <a:pt x="0" y="709055"/>
                </a:lnTo>
                <a:close/>
                <a:moveTo>
                  <a:pt x="0" y="509807"/>
                </a:moveTo>
                <a:lnTo>
                  <a:pt x="97193" y="509807"/>
                </a:lnTo>
                <a:cubicBezTo>
                  <a:pt x="109818" y="509807"/>
                  <a:pt x="120053" y="520042"/>
                  <a:pt x="120053" y="532667"/>
                </a:cubicBezTo>
                <a:lnTo>
                  <a:pt x="120052" y="532667"/>
                </a:lnTo>
                <a:cubicBezTo>
                  <a:pt x="120052" y="545292"/>
                  <a:pt x="109817" y="555527"/>
                  <a:pt x="97192" y="555527"/>
                </a:cubicBezTo>
                <a:lnTo>
                  <a:pt x="0" y="555527"/>
                </a:lnTo>
                <a:close/>
                <a:moveTo>
                  <a:pt x="0" y="356279"/>
                </a:moveTo>
                <a:lnTo>
                  <a:pt x="42166" y="356279"/>
                </a:lnTo>
                <a:cubicBezTo>
                  <a:pt x="54791" y="356279"/>
                  <a:pt x="65026" y="366514"/>
                  <a:pt x="65026" y="379139"/>
                </a:cubicBezTo>
                <a:lnTo>
                  <a:pt x="65025" y="379139"/>
                </a:lnTo>
                <a:cubicBezTo>
                  <a:pt x="65025" y="391764"/>
                  <a:pt x="54790" y="401999"/>
                  <a:pt x="4216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152104" y="158496"/>
                </a:lnTo>
                <a:cubicBezTo>
                  <a:pt x="176950" y="158496"/>
                  <a:pt x="197091" y="178637"/>
                  <a:pt x="197091" y="203483"/>
                </a:cubicBezTo>
                <a:cubicBezTo>
                  <a:pt x="197091" y="228329"/>
                  <a:pt x="176950" y="248470"/>
                  <a:pt x="152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42166" y="0"/>
                </a:lnTo>
                <a:cubicBezTo>
                  <a:pt x="54791" y="0"/>
                  <a:pt x="65026" y="10235"/>
                  <a:pt x="65026" y="22860"/>
                </a:cubicBezTo>
                <a:lnTo>
                  <a:pt x="65025" y="22860"/>
                </a:lnTo>
                <a:cubicBezTo>
                  <a:pt x="65025" y="35485"/>
                  <a:pt x="54790" y="45720"/>
                  <a:pt x="4216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067AC57-0993-4841-9877-618A266C0F08}"/>
              </a:ext>
            </a:extLst>
          </p:cNvPr>
          <p:cNvSpPr/>
          <p:nvPr userDrawn="1"/>
        </p:nvSpPr>
        <p:spPr>
          <a:xfrm>
            <a:off x="406294" y="6705600"/>
            <a:ext cx="11376237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>
                    <a:lumMod val="60000"/>
                    <a:lumOff val="40000"/>
                  </a:schemeClr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>
                  <a:lumMod val="60000"/>
                  <a:lumOff val="40000"/>
                </a:schemeClr>
              </a:solidFill>
              <a:ea typeface="MS PGothic" pitchFamily="34" charset="-128"/>
            </a:endParaRPr>
          </a:p>
        </p:txBody>
      </p:sp>
      <p:cxnSp>
        <p:nvCxnSpPr>
          <p:cNvPr id="24" name="Connecteur droit 7">
            <a:extLst>
              <a:ext uri="{FF2B5EF4-FFF2-40B4-BE49-F238E27FC236}">
                <a16:creationId xmlns:a16="http://schemas.microsoft.com/office/drawing/2014/main" id="{414ABB1C-3475-4259-AC77-6A0B7AD5C807}"/>
              </a:ext>
            </a:extLst>
          </p:cNvPr>
          <p:cNvCxnSpPr>
            <a:cxnSpLocks/>
          </p:cNvCxnSpPr>
          <p:nvPr userDrawn="1"/>
        </p:nvCxnSpPr>
        <p:spPr>
          <a:xfrm>
            <a:off x="478243" y="746240"/>
            <a:ext cx="117105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 sz="8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54B200A8-0270-4F73-B53E-A4E7DC523E12}"/>
              </a:ext>
            </a:extLst>
          </p:cNvPr>
          <p:cNvPicPr>
            <a:picLocks noChangeAspect="1"/>
          </p:cNvPicPr>
          <p:nvPr userDrawn="1"/>
        </p:nvPicPr>
        <p:blipFill>
          <a:blip r:embed="rId51"/>
          <a:stretch>
            <a:fillRect/>
          </a:stretch>
        </p:blipFill>
        <p:spPr>
          <a:xfrm>
            <a:off x="10935067" y="6357764"/>
            <a:ext cx="813812" cy="33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072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88" r:id="rId48"/>
    <p:sldLayoutId id="2147483789" r:id="rId49"/>
  </p:sldLayoutIdLst>
  <p:transition>
    <p:fade/>
  </p:transition>
  <p:hf hdr="0" ftr="0" dt="0"/>
  <p:txStyles>
    <p:titleStyle>
      <a:lvl1pPr algn="l" defTabSz="914126" rtl="0" eaLnBrk="1" latinLnBrk="0" hangingPunct="1">
        <a:lnSpc>
          <a:spcPct val="85000"/>
        </a:lnSpc>
        <a:spcBef>
          <a:spcPct val="0"/>
        </a:spcBef>
        <a:buNone/>
        <a:defRPr sz="1799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69812" indent="-169812" algn="l" defTabSz="914126" rtl="0" eaLnBrk="1" latinLnBrk="0" hangingPunct="1">
        <a:lnSpc>
          <a:spcPct val="95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515783" indent="-169812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855406" indent="-115853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201377" indent="-169812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4pPr>
      <a:lvl5pPr marL="1487042" indent="-115853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384">
          <p15:clr>
            <a:srgbClr val="F26B43"/>
          </p15:clr>
        </p15:guide>
        <p15:guide id="3" pos="7440">
          <p15:clr>
            <a:srgbClr val="F26B43"/>
          </p15:clr>
        </p15:guide>
        <p15:guide id="4" pos="3912">
          <p15:clr>
            <a:srgbClr val="F26B43"/>
          </p15:clr>
        </p15:guide>
        <p15:guide id="5" orient="horz" pos="42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40.xml"/><Relationship Id="rId6" Type="http://schemas.openxmlformats.org/officeDocument/2006/relationships/image" Target="../media/image3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36/adc.2006.114249" TargetMode="External"/><Relationship Id="rId2" Type="http://schemas.openxmlformats.org/officeDocument/2006/relationships/hyperlink" Target="https://doi.org/10.4158/EP13194.OR" TargetMode="Externa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17.xml"/><Relationship Id="rId3" Type="http://schemas.openxmlformats.org/officeDocument/2006/relationships/image" Target="../media/image55.png"/><Relationship Id="rId7" Type="http://schemas.openxmlformats.org/officeDocument/2006/relationships/image" Target="../media/image58.emf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3.xml"/><Relationship Id="rId6" Type="http://schemas.openxmlformats.org/officeDocument/2006/relationships/slide" Target="slide15.xml"/><Relationship Id="rId11" Type="http://schemas.openxmlformats.org/officeDocument/2006/relationships/image" Target="../media/image61.emf"/><Relationship Id="rId5" Type="http://schemas.openxmlformats.org/officeDocument/2006/relationships/image" Target="../media/image57.png"/><Relationship Id="rId10" Type="http://schemas.openxmlformats.org/officeDocument/2006/relationships/image" Target="../media/image60.emf"/><Relationship Id="rId4" Type="http://schemas.openxmlformats.org/officeDocument/2006/relationships/image" Target="../media/image56.png"/><Relationship Id="rId9" Type="http://schemas.openxmlformats.org/officeDocument/2006/relationships/image" Target="../media/image59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6.png"/><Relationship Id="rId4" Type="http://schemas.openxmlformats.org/officeDocument/2006/relationships/image" Target="../media/image6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3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3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3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7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9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9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9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9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9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9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9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9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9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9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9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9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F256F9-DB73-1913-0BE9-EA66FFAE7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3" y="337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F256F9-DB73-1913-0BE9-EA66FFAE7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3" y="337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7EDAC72-7C89-EA23-7233-13263E4B1C99}"/>
              </a:ext>
            </a:extLst>
          </p:cNvPr>
          <p:cNvSpPr txBox="1">
            <a:spLocks/>
          </p:cNvSpPr>
          <p:nvPr/>
        </p:nvSpPr>
        <p:spPr>
          <a:xfrm>
            <a:off x="4300486" y="6195955"/>
            <a:ext cx="3587853" cy="42185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spc="-50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/>
            <a:endParaRPr lang="en-US" sz="1950" dirty="0">
              <a:solidFill>
                <a:srgbClr val="000000"/>
              </a:solidFill>
              <a:latin typeface="Pfizer Diatype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8392A9-2D8B-FC1F-8579-BD75E7150464}"/>
              </a:ext>
            </a:extLst>
          </p:cNvPr>
          <p:cNvSpPr txBox="1"/>
          <p:nvPr/>
        </p:nvSpPr>
        <p:spPr>
          <a:xfrm>
            <a:off x="594825" y="5514298"/>
            <a:ext cx="47172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37307C-3798-BCD1-7DA3-042013248932}"/>
              </a:ext>
            </a:extLst>
          </p:cNvPr>
          <p:cNvSpPr txBox="1"/>
          <p:nvPr/>
        </p:nvSpPr>
        <p:spPr bwMode="gray">
          <a:xfrm>
            <a:off x="8663679" y="5831449"/>
            <a:ext cx="38695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PP-NGE-POL-003</a:t>
            </a:r>
            <a:r>
              <a:rPr lang="pl-PL" sz="12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6  Marzec </a:t>
            </a:r>
            <a:r>
              <a:rPr lang="pl-PL" sz="1200" b="0" i="0" dirty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2025</a:t>
            </a:r>
            <a:endParaRPr lang="en-US" sz="1200" dirty="0"/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4A9EECF6-26D3-C41C-12E1-89ABB9462F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9097" y="1190999"/>
            <a:ext cx="4823930" cy="3450873"/>
          </a:xfrm>
          <a:prstGeom prst="rect">
            <a:avLst/>
          </a:prstGeom>
        </p:spPr>
      </p:pic>
      <p:pic>
        <p:nvPicPr>
          <p:cNvPr id="31" name="Obraz 30">
            <a:extLst>
              <a:ext uri="{FF2B5EF4-FFF2-40B4-BE49-F238E27FC236}">
                <a16:creationId xmlns:a16="http://schemas.microsoft.com/office/drawing/2014/main" id="{20955E24-3501-815F-56CA-65F7183B9B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266" y="240187"/>
            <a:ext cx="5603146" cy="5352499"/>
          </a:xfrm>
          <a:prstGeom prst="rect">
            <a:avLst/>
          </a:prstGeom>
        </p:spPr>
      </p:pic>
      <p:pic>
        <p:nvPicPr>
          <p:cNvPr id="33" name="Obraz 32">
            <a:extLst>
              <a:ext uri="{FF2B5EF4-FFF2-40B4-BE49-F238E27FC236}">
                <a16:creationId xmlns:a16="http://schemas.microsoft.com/office/drawing/2014/main" id="{4FD4E151-963E-8C48-9D2B-104A71FFA3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1266" y="5630801"/>
            <a:ext cx="6077779" cy="709074"/>
          </a:xfrm>
          <a:prstGeom prst="rect">
            <a:avLst/>
          </a:prstGeom>
        </p:spPr>
      </p:pic>
      <p:sp>
        <p:nvSpPr>
          <p:cNvPr id="34" name="pole tekstowe 33">
            <a:extLst>
              <a:ext uri="{FF2B5EF4-FFF2-40B4-BE49-F238E27FC236}">
                <a16:creationId xmlns:a16="http://schemas.microsoft.com/office/drawing/2014/main" id="{50DFD5CB-FEC0-9938-7C4E-CF1F1E8E5F6C}"/>
              </a:ext>
            </a:extLst>
          </p:cNvPr>
          <p:cNvSpPr txBox="1"/>
          <p:nvPr/>
        </p:nvSpPr>
        <p:spPr>
          <a:xfrm>
            <a:off x="1961485" y="6274087"/>
            <a:ext cx="84683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fizer Polska Sp. z o.o. z siedzibą w Warszawie, ul. Żwirki i Wigury 16B, 02-092 Warszawa. Kapitał zakładowy 33 860 000,00 zł,</a:t>
            </a:r>
          </a:p>
          <a:p>
            <a:pPr algn="ctr"/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RS 22310, Sąd Rejonowy dla m.st. Warszawy w Warszawie</a:t>
            </a:r>
            <a:r>
              <a:rPr lang="pl-PL" sz="1200" dirty="0"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IP 521-31-15-586</a:t>
            </a:r>
            <a:r>
              <a:rPr lang="pl-PL" sz="1200" dirty="0"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mer w rejestrze BDO 000189470.</a:t>
            </a:r>
          </a:p>
        </p:txBody>
      </p:sp>
      <p:pic>
        <p:nvPicPr>
          <p:cNvPr id="35" name="Obraz 34">
            <a:extLst>
              <a:ext uri="{FF2B5EF4-FFF2-40B4-BE49-F238E27FC236}">
                <a16:creationId xmlns:a16="http://schemas.microsoft.com/office/drawing/2014/main" id="{BE63B5A6-7515-AE64-7DFA-9AD5BC01BE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1266" y="6315272"/>
            <a:ext cx="1139735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739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Symbol zastępczy zawartości 2">
            <a:extLst>
              <a:ext uri="{FF2B5EF4-FFF2-40B4-BE49-F238E27FC236}">
                <a16:creationId xmlns:a16="http://schemas.microsoft.com/office/drawing/2014/main" id="{A5965EA9-E3D0-8F63-D2ED-1D853212878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47992" y="1314350"/>
            <a:ext cx="11292840" cy="4975927"/>
          </a:xfrm>
        </p:spPr>
        <p:txBody>
          <a:bodyPr/>
          <a:lstStyle/>
          <a:p>
            <a:r>
              <a:rPr lang="pl-PL" altLang="pl-PL" sz="2400" dirty="0"/>
              <a:t>Przestrzeganie zaleceń jest niezbędnym warunkiem skuteczności każdej terapii, a biorąc pod uwagę konieczność codziennego podawania zastrzyków w odpowiednim czasie i w dokładnych dawkach, to leczenie </a:t>
            </a:r>
            <a:r>
              <a:rPr lang="pl-PL" altLang="pl-PL" sz="2400" dirty="0" err="1"/>
              <a:t>dGH</a:t>
            </a:r>
            <a:r>
              <a:rPr lang="pl-PL" altLang="pl-PL" sz="2400" dirty="0"/>
              <a:t> stanowi znaczne obciążenie dla dzieci i rodziców. </a:t>
            </a:r>
            <a:r>
              <a:rPr lang="pl-PL" altLang="pl-PL" sz="1800" dirty="0">
                <a:solidFill>
                  <a:srgbClr val="FF0000"/>
                </a:solidFill>
              </a:rPr>
              <a:t>Gomez. Front </a:t>
            </a:r>
            <a:r>
              <a:rPr lang="pl-PL" altLang="pl-PL" sz="1800" dirty="0" err="1">
                <a:solidFill>
                  <a:srgbClr val="FF0000"/>
                </a:solidFill>
              </a:rPr>
              <a:t>Endocrinol</a:t>
            </a:r>
            <a:r>
              <a:rPr lang="pl-PL" altLang="pl-PL" sz="1800" dirty="0">
                <a:solidFill>
                  <a:srgbClr val="FF0000"/>
                </a:solidFill>
              </a:rPr>
              <a:t>. 2022, </a:t>
            </a:r>
            <a:r>
              <a:rPr lang="en-US" altLang="pl-PL" sz="1800" dirty="0">
                <a:solidFill>
                  <a:srgbClr val="FF0000"/>
                </a:solidFill>
              </a:rPr>
              <a:t>Ranke MB. Front Endocrinol. 2021;</a:t>
            </a:r>
            <a:r>
              <a:rPr lang="pl-PL" altLang="pl-PL" sz="1800" dirty="0">
                <a:solidFill>
                  <a:srgbClr val="FF0000"/>
                </a:solidFill>
              </a:rPr>
              <a:t> </a:t>
            </a:r>
            <a:r>
              <a:rPr lang="en-US" altLang="pl-PL" sz="1800" dirty="0">
                <a:solidFill>
                  <a:srgbClr val="FF0000"/>
                </a:solidFill>
              </a:rPr>
              <a:t>Brod M, Qual Life Res. 2017;</a:t>
            </a:r>
            <a:endParaRPr lang="pl-PL" altLang="pl-PL" sz="2400" dirty="0"/>
          </a:p>
          <a:p>
            <a:r>
              <a:rPr lang="pl-PL" altLang="pl-PL" sz="2400" dirty="0"/>
              <a:t>Słabe przestrzeganie zaleceń związanych z </a:t>
            </a:r>
            <a:r>
              <a:rPr lang="pl-PL" altLang="pl-PL" sz="2400" dirty="0" err="1"/>
              <a:t>dGH</a:t>
            </a:r>
            <a:r>
              <a:rPr lang="pl-PL" altLang="pl-PL" sz="2400" dirty="0"/>
              <a:t> jest dobrze udokumentowane w literaturze, np.: </a:t>
            </a:r>
          </a:p>
          <a:p>
            <a:pPr lvl="1"/>
            <a:r>
              <a:rPr lang="pl-PL" altLang="pl-PL" sz="2400" dirty="0"/>
              <a:t>Roczne początkowe HV = 9,1 cm ( jeśli dobre i bardzo dobre przestrzeganie zaleceń) vs 7,6 cm (jeśli słabe) </a:t>
            </a:r>
            <a:r>
              <a:rPr lang="pl-PL" altLang="pl-PL" sz="1800" dirty="0" err="1">
                <a:solidFill>
                  <a:srgbClr val="FF0000"/>
                </a:solidFill>
              </a:rPr>
              <a:t>Aydın</a:t>
            </a:r>
            <a:r>
              <a:rPr lang="pl-PL" altLang="pl-PL" sz="1800" dirty="0">
                <a:solidFill>
                  <a:srgbClr val="FF0000"/>
                </a:solidFill>
              </a:rPr>
              <a:t> BK et al. </a:t>
            </a:r>
            <a:r>
              <a:rPr lang="pl-PL" altLang="pl-PL" sz="1800" dirty="0" err="1">
                <a:solidFill>
                  <a:srgbClr val="FF0000"/>
                </a:solidFill>
              </a:rPr>
              <a:t>Adherence</a:t>
            </a:r>
            <a:r>
              <a:rPr lang="pl-PL" altLang="pl-PL" sz="1800" dirty="0">
                <a:solidFill>
                  <a:srgbClr val="FF0000"/>
                </a:solidFill>
              </a:rPr>
              <a:t> to </a:t>
            </a:r>
            <a:r>
              <a:rPr lang="pl-PL" altLang="pl-PL" sz="1800" dirty="0" err="1">
                <a:solidFill>
                  <a:srgbClr val="FF0000"/>
                </a:solidFill>
              </a:rPr>
              <a:t>growth</a:t>
            </a:r>
            <a:r>
              <a:rPr lang="pl-PL" altLang="pl-PL" sz="1800" dirty="0">
                <a:solidFill>
                  <a:srgbClr val="FF0000"/>
                </a:solidFill>
              </a:rPr>
              <a:t> </a:t>
            </a:r>
            <a:r>
              <a:rPr lang="pl-PL" altLang="pl-PL" sz="1800" dirty="0" err="1">
                <a:solidFill>
                  <a:srgbClr val="FF0000"/>
                </a:solidFill>
              </a:rPr>
              <a:t>hormone</a:t>
            </a:r>
            <a:r>
              <a:rPr lang="pl-PL" altLang="pl-PL" sz="1800" dirty="0">
                <a:solidFill>
                  <a:srgbClr val="FF0000"/>
                </a:solidFill>
              </a:rPr>
              <a:t> </a:t>
            </a:r>
            <a:r>
              <a:rPr lang="pl-PL" altLang="pl-PL" sz="1800" dirty="0" err="1">
                <a:solidFill>
                  <a:srgbClr val="FF0000"/>
                </a:solidFill>
              </a:rPr>
              <a:t>therapy</a:t>
            </a:r>
            <a:r>
              <a:rPr lang="pl-PL" altLang="pl-PL" sz="1800" dirty="0">
                <a:solidFill>
                  <a:srgbClr val="FF0000"/>
                </a:solidFill>
              </a:rPr>
              <a:t>: </a:t>
            </a:r>
            <a:r>
              <a:rPr lang="pl-PL" altLang="pl-PL" sz="1800" dirty="0" err="1">
                <a:solidFill>
                  <a:srgbClr val="FF0000"/>
                </a:solidFill>
              </a:rPr>
              <a:t>results</a:t>
            </a:r>
            <a:r>
              <a:rPr lang="pl-PL" altLang="pl-PL" sz="1800" dirty="0">
                <a:solidFill>
                  <a:srgbClr val="FF0000"/>
                </a:solidFill>
              </a:rPr>
              <a:t> of a </a:t>
            </a:r>
            <a:r>
              <a:rPr lang="pl-PL" altLang="pl-PL" sz="1800" dirty="0" err="1">
                <a:solidFill>
                  <a:srgbClr val="FF0000"/>
                </a:solidFill>
              </a:rPr>
              <a:t>multicenter</a:t>
            </a:r>
            <a:r>
              <a:rPr lang="pl-PL" altLang="pl-PL" sz="1800" dirty="0">
                <a:solidFill>
                  <a:srgbClr val="FF0000"/>
                </a:solidFill>
              </a:rPr>
              <a:t> </a:t>
            </a:r>
            <a:r>
              <a:rPr lang="pl-PL" altLang="pl-PL" sz="1800" dirty="0" err="1">
                <a:solidFill>
                  <a:srgbClr val="FF0000"/>
                </a:solidFill>
              </a:rPr>
              <a:t>study</a:t>
            </a:r>
            <a:r>
              <a:rPr lang="pl-PL" altLang="pl-PL" sz="1800" dirty="0">
                <a:solidFill>
                  <a:srgbClr val="FF0000"/>
                </a:solidFill>
              </a:rPr>
              <a:t>. </a:t>
            </a:r>
            <a:r>
              <a:rPr lang="pl-PL" altLang="pl-PL" sz="1800" dirty="0" err="1">
                <a:solidFill>
                  <a:srgbClr val="FF0000"/>
                </a:solidFill>
              </a:rPr>
              <a:t>Endocr</a:t>
            </a:r>
            <a:r>
              <a:rPr lang="pl-PL" altLang="pl-PL" sz="1800" dirty="0">
                <a:solidFill>
                  <a:srgbClr val="FF0000"/>
                </a:solidFill>
              </a:rPr>
              <a:t> </a:t>
            </a:r>
            <a:r>
              <a:rPr lang="pl-PL" altLang="pl-PL" sz="1800" dirty="0" err="1">
                <a:solidFill>
                  <a:srgbClr val="FF0000"/>
                </a:solidFill>
              </a:rPr>
              <a:t>Pract</a:t>
            </a:r>
            <a:r>
              <a:rPr lang="pl-PL" altLang="pl-PL" sz="1800" dirty="0">
                <a:solidFill>
                  <a:srgbClr val="FF0000"/>
                </a:solidFill>
              </a:rPr>
              <a:t>. 2014;</a:t>
            </a:r>
            <a:r>
              <a:rPr lang="pl-PL" altLang="pl-PL" sz="1800" dirty="0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</a:t>
            </a:r>
            <a:r>
              <a:rPr lang="pl-PL" altLang="pl-PL" sz="1800" dirty="0">
                <a:solidFill>
                  <a:srgbClr val="FF0000"/>
                </a:solidFill>
              </a:rPr>
              <a:t>(</a:t>
            </a:r>
            <a:r>
              <a:rPr lang="pl-PL" altLang="pl-PL" sz="1800" dirty="0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</a:t>
            </a:r>
            <a:r>
              <a:rPr lang="pl-PL" altLang="pl-PL" sz="1800" dirty="0">
                <a:solidFill>
                  <a:srgbClr val="FF0000"/>
                </a:solidFill>
              </a:rPr>
              <a:t>):46–51</a:t>
            </a:r>
            <a:r>
              <a:rPr lang="pl-PL" altLang="pl-PL" sz="900" dirty="0">
                <a:solidFill>
                  <a:srgbClr val="FF0000"/>
                </a:solidFill>
              </a:rPr>
              <a:t>.</a:t>
            </a:r>
          </a:p>
          <a:p>
            <a:pPr lvl="1"/>
            <a:r>
              <a:rPr lang="pl-PL" altLang="pl-PL" sz="2400" dirty="0"/>
              <a:t>Roczne HV = 6,6–7,8 cm (jeśli ominięto 1 wstrzyknięcie/tydzień) vs 4,6 cm (jeśli ominięto  2 wstrzyknięcia/tydzień)</a:t>
            </a:r>
            <a:r>
              <a:rPr lang="en-US" altLang="pl-PL" sz="1600" dirty="0">
                <a:solidFill>
                  <a:srgbClr val="333333"/>
                </a:solidFill>
                <a:latin typeface="Open Sans" panose="020B0606030504020204" pitchFamily="34" charset="0"/>
              </a:rPr>
              <a:t> </a:t>
            </a:r>
            <a:r>
              <a:rPr lang="en-US" altLang="pl-PL" sz="1800" dirty="0">
                <a:solidFill>
                  <a:srgbClr val="FF0000"/>
                </a:solidFill>
              </a:rPr>
              <a:t>Kapoor RR</a:t>
            </a:r>
            <a:r>
              <a:rPr lang="pl-PL" altLang="pl-PL" sz="1800" dirty="0">
                <a:solidFill>
                  <a:srgbClr val="FF0000"/>
                </a:solidFill>
              </a:rPr>
              <a:t> </a:t>
            </a:r>
            <a:r>
              <a:rPr lang="en-US" altLang="pl-PL" sz="1800" dirty="0">
                <a:solidFill>
                  <a:srgbClr val="FF0000"/>
                </a:solidFill>
              </a:rPr>
              <a:t> et al. Monitoring of concordance in growth hormone therapy. Arch Dis Child. 2008;</a:t>
            </a:r>
            <a:r>
              <a:rPr lang="en-US" altLang="pl-PL" sz="1800" dirty="0">
                <a:solidFill>
                  <a:srgbClr val="FF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93</a:t>
            </a:r>
            <a:r>
              <a:rPr lang="en-US" altLang="pl-PL" sz="1800" dirty="0">
                <a:solidFill>
                  <a:srgbClr val="FF0000"/>
                </a:solidFill>
              </a:rPr>
              <a:t>(</a:t>
            </a:r>
            <a:r>
              <a:rPr lang="en-US" altLang="pl-PL" sz="1800" dirty="0">
                <a:solidFill>
                  <a:srgbClr val="FF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</a:t>
            </a:r>
            <a:r>
              <a:rPr lang="en-US" altLang="pl-PL" sz="1800" dirty="0">
                <a:solidFill>
                  <a:srgbClr val="FF0000"/>
                </a:solidFill>
              </a:rPr>
              <a:t>):147–148.</a:t>
            </a:r>
            <a:endParaRPr lang="pl-PL" altLang="pl-PL" sz="1800" dirty="0">
              <a:solidFill>
                <a:srgbClr val="FF0000"/>
              </a:solidFill>
            </a:endParaRP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A653F850-EB1A-7ECA-F3DF-BE863CE187C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6895" y="567723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 fontScale="92500"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Przestrzeganie zaleceń przez dzieci z GHD leczonych </a:t>
            </a:r>
            <a:r>
              <a:rPr lang="pl-PL" sz="3600" b="1" spc="-25" dirty="0" err="1">
                <a:solidFill>
                  <a:srgbClr val="0000CA"/>
                </a:solidFill>
                <a:latin typeface="Pfizer Tomorrow"/>
              </a:rPr>
              <a:t>dGH</a:t>
            </a:r>
            <a:endParaRPr lang="pl-PL" sz="3200" b="1" spc="-25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 descr="Eye dropper outline">
            <a:extLst>
              <a:ext uri="{FF2B5EF4-FFF2-40B4-BE49-F238E27FC236}">
                <a16:creationId xmlns:a16="http://schemas.microsoft.com/office/drawing/2014/main" id="{E2689935-78ED-4E64-6143-DAF0A13D8A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0978" y="776973"/>
            <a:ext cx="516007" cy="516007"/>
          </a:xfrm>
          <a:prstGeom prst="rect">
            <a:avLst/>
          </a:prstGeom>
        </p:spPr>
      </p:pic>
      <p:pic>
        <p:nvPicPr>
          <p:cNvPr id="15" name="Obraz 3">
            <a:extLst>
              <a:ext uri="{FF2B5EF4-FFF2-40B4-BE49-F238E27FC236}">
                <a16:creationId xmlns:a16="http://schemas.microsoft.com/office/drawing/2014/main" id="{A35E5999-5F7B-C23A-AC41-836AEED6C1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3081" y="1317147"/>
            <a:ext cx="3925214" cy="521457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A42D13-91AD-751D-B666-950CF37649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947" y="2137483"/>
            <a:ext cx="6952830" cy="3095387"/>
          </a:xfrm>
          <a:prstGeom prst="rect">
            <a:avLst/>
          </a:prstGeom>
        </p:spPr>
      </p:pic>
      <p:sp>
        <p:nvSpPr>
          <p:cNvPr id="5" name="Arrow: Down 4">
            <a:extLst>
              <a:ext uri="{FF2B5EF4-FFF2-40B4-BE49-F238E27FC236}">
                <a16:creationId xmlns:a16="http://schemas.microsoft.com/office/drawing/2014/main" id="{6A384041-C3A0-DC93-927F-D6975158423F}"/>
              </a:ext>
            </a:extLst>
          </p:cNvPr>
          <p:cNvSpPr/>
          <p:nvPr/>
        </p:nvSpPr>
        <p:spPr bwMode="gray">
          <a:xfrm rot="16200000">
            <a:off x="7479541" y="3455901"/>
            <a:ext cx="656427" cy="745118"/>
          </a:xfrm>
          <a:prstGeom prst="downArrow">
            <a:avLst/>
          </a:prstGeom>
          <a:solidFill>
            <a:schemeClr val="accent2"/>
          </a:solidFill>
          <a:ln w="34925" cap="flat" cmpd="sng" algn="ctr">
            <a:solidFill>
              <a:srgbClr val="00048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Tytuł 2">
            <a:extLst>
              <a:ext uri="{FF2B5EF4-FFF2-40B4-BE49-F238E27FC236}">
                <a16:creationId xmlns:a16="http://schemas.microsoft.com/office/drawing/2014/main" id="{159B2A8A-1ED6-3E7D-13AE-D53D9F4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531" y="240820"/>
            <a:ext cx="11892209" cy="1052160"/>
          </a:xfrm>
        </p:spPr>
        <p:txBody>
          <a:bodyPr/>
          <a:lstStyle/>
          <a:p>
            <a:pPr algn="ctr"/>
            <a:r>
              <a:rPr lang="pl-PL" sz="3600" b="1" spc="-25" dirty="0">
                <a:solidFill>
                  <a:srgbClr val="0000CA"/>
                </a:solidFill>
                <a:latin typeface="Pfizer Tomorrow"/>
                <a:cs typeface="Arial"/>
              </a:rPr>
              <a:t>Roczne początkowe HV = 9,4 cm ( jeśli dobre i bardzo dobre przestrzeganie zaleceń) vs 7,5 cm (jeśli słabe) </a:t>
            </a:r>
            <a:endParaRPr lang="en-US" dirty="0"/>
          </a:p>
        </p:txBody>
      </p:sp>
      <p:sp>
        <p:nvSpPr>
          <p:cNvPr id="9" name="Symbol zastępczy zawartości 3">
            <a:extLst>
              <a:ext uri="{FF2B5EF4-FFF2-40B4-BE49-F238E27FC236}">
                <a16:creationId xmlns:a16="http://schemas.microsoft.com/office/drawing/2014/main" id="{2B5C8B77-7C7F-6906-B1AB-C9A817832972}"/>
              </a:ext>
            </a:extLst>
          </p:cNvPr>
          <p:cNvSpPr txBox="1">
            <a:spLocks/>
          </p:cNvSpPr>
          <p:nvPr/>
        </p:nvSpPr>
        <p:spPr>
          <a:xfrm>
            <a:off x="544993" y="1625130"/>
            <a:ext cx="7107251" cy="3950208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20" lvl="1" indent="0">
              <a:buFont typeface="Arial" panose="020B0604020202020204" pitchFamily="34" charset="0"/>
              <a:buNone/>
            </a:pPr>
            <a:endParaRPr lang="pl-PL" sz="2000" dirty="0">
              <a:solidFill>
                <a:schemeClr val="accent1">
                  <a:lumMod val="75000"/>
                </a:schemeClr>
              </a:solidFill>
              <a:cs typeface="Arial" panose="020B0604020202020204"/>
            </a:endParaRPr>
          </a:p>
        </p:txBody>
      </p:sp>
      <p:sp>
        <p:nvSpPr>
          <p:cNvPr id="16" name="Symbol zastępczy tekstu 4">
            <a:extLst>
              <a:ext uri="{FF2B5EF4-FFF2-40B4-BE49-F238E27FC236}">
                <a16:creationId xmlns:a16="http://schemas.microsoft.com/office/drawing/2014/main" id="{D8305D6A-921E-65C0-C1AA-3F4EC3CB5253}"/>
              </a:ext>
            </a:extLst>
          </p:cNvPr>
          <p:cNvSpPr txBox="1">
            <a:spLocks/>
          </p:cNvSpPr>
          <p:nvPr/>
        </p:nvSpPr>
        <p:spPr>
          <a:xfrm>
            <a:off x="745455" y="927867"/>
            <a:ext cx="11292840" cy="396947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lang="pl-PL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FA0A0188-D192-BC01-F9AB-7D18A53CC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6029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8A40A5D-69F5-83C1-EA96-4FC8F11BF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C1CD1B63-E46F-AEAA-E6DF-D954E8FACA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Agenda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A4B51661-138D-81BD-49A0-E7D2E7D54C2E}"/>
              </a:ext>
            </a:extLst>
          </p:cNvPr>
          <p:cNvSpPr txBox="1">
            <a:spLocks/>
          </p:cNvSpPr>
          <p:nvPr/>
        </p:nvSpPr>
        <p:spPr bwMode="gray">
          <a:xfrm>
            <a:off x="443599" y="1714303"/>
            <a:ext cx="9008745" cy="4280925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Codzienna terap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rhGH</a:t>
            </a: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, obciążenie i zgodność z terapią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AGH i mechanizm działania </a:t>
            </a:r>
            <a:r>
              <a:rPr lang="pl-PL" sz="2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Program kliniczny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awka oraz sposób podawania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Monitorowanie poziomów IGF-1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yskusja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B62EDBBB-45D9-5659-D0F7-9025AC6C31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881639"/>
      </p:ext>
    </p:extLst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Obraz 4">
            <a:extLst>
              <a:ext uri="{FF2B5EF4-FFF2-40B4-BE49-F238E27FC236}">
                <a16:creationId xmlns:a16="http://schemas.microsoft.com/office/drawing/2014/main" id="{D3706EED-2A0E-4D08-3534-2F0E02D6E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750" y="511175"/>
            <a:ext cx="3783012" cy="5862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327C47E6-E080-BA5C-CB94-D6B1BC11EBD0}"/>
              </a:ext>
            </a:extLst>
          </p:cNvPr>
          <p:cNvSpPr txBox="1"/>
          <p:nvPr/>
        </p:nvSpPr>
        <p:spPr>
          <a:xfrm>
            <a:off x="2312988" y="6581776"/>
            <a:ext cx="83534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l-PL" sz="1200" dirty="0" err="1">
                <a:solidFill>
                  <a:srgbClr val="FF0000"/>
                </a:solidFill>
              </a:rPr>
              <a:t>Ranke</a:t>
            </a:r>
            <a:r>
              <a:rPr lang="pl-PL" sz="1200" dirty="0">
                <a:solidFill>
                  <a:srgbClr val="FF0000"/>
                </a:solidFill>
              </a:rPr>
              <a:t> MB, Wit JM. </a:t>
            </a:r>
            <a:r>
              <a:rPr lang="pl-PL" sz="1200" dirty="0" err="1">
                <a:solidFill>
                  <a:srgbClr val="FF0000"/>
                </a:solidFill>
              </a:rPr>
              <a:t>Growth</a:t>
            </a:r>
            <a:r>
              <a:rPr lang="pl-PL" sz="1200" dirty="0">
                <a:solidFill>
                  <a:srgbClr val="FF0000"/>
                </a:solidFill>
              </a:rPr>
              <a:t> </a:t>
            </a:r>
            <a:r>
              <a:rPr lang="pl-PL" sz="1200" dirty="0" err="1">
                <a:solidFill>
                  <a:srgbClr val="FF0000"/>
                </a:solidFill>
              </a:rPr>
              <a:t>hormone</a:t>
            </a:r>
            <a:r>
              <a:rPr lang="pl-PL" sz="1200" dirty="0">
                <a:solidFill>
                  <a:srgbClr val="FF0000"/>
                </a:solidFill>
              </a:rPr>
              <a:t> - past, </a:t>
            </a:r>
            <a:r>
              <a:rPr lang="pl-PL" sz="1200" dirty="0" err="1">
                <a:solidFill>
                  <a:srgbClr val="FF0000"/>
                </a:solidFill>
              </a:rPr>
              <a:t>present</a:t>
            </a:r>
            <a:r>
              <a:rPr lang="pl-PL" sz="1200" dirty="0">
                <a:solidFill>
                  <a:srgbClr val="FF0000"/>
                </a:solidFill>
              </a:rPr>
              <a:t> and </a:t>
            </a:r>
            <a:r>
              <a:rPr lang="pl-PL" sz="1200" dirty="0" err="1">
                <a:solidFill>
                  <a:srgbClr val="FF0000"/>
                </a:solidFill>
              </a:rPr>
              <a:t>future</a:t>
            </a:r>
            <a:r>
              <a:rPr lang="pl-PL" sz="1200" dirty="0">
                <a:solidFill>
                  <a:srgbClr val="FF0000"/>
                </a:solidFill>
              </a:rPr>
              <a:t>. Nat </a:t>
            </a:r>
            <a:r>
              <a:rPr lang="pl-PL" sz="1200" dirty="0" err="1">
                <a:solidFill>
                  <a:srgbClr val="FF0000"/>
                </a:solidFill>
              </a:rPr>
              <a:t>Rev</a:t>
            </a:r>
            <a:r>
              <a:rPr lang="pl-PL" sz="1200" dirty="0">
                <a:solidFill>
                  <a:srgbClr val="FF0000"/>
                </a:solidFill>
              </a:rPr>
              <a:t> </a:t>
            </a:r>
            <a:r>
              <a:rPr lang="pl-PL" sz="1200" dirty="0" err="1">
                <a:solidFill>
                  <a:srgbClr val="FF0000"/>
                </a:solidFill>
              </a:rPr>
              <a:t>Endocrinol</a:t>
            </a:r>
            <a:r>
              <a:rPr lang="pl-PL" sz="1200" dirty="0">
                <a:solidFill>
                  <a:srgbClr val="FF0000"/>
                </a:solidFill>
              </a:rPr>
              <a:t>. 2018 May;14(5):285-300. </a:t>
            </a:r>
          </a:p>
        </p:txBody>
      </p:sp>
      <p:sp>
        <p:nvSpPr>
          <p:cNvPr id="9" name="Strzałka: w prawo 8">
            <a:extLst>
              <a:ext uri="{FF2B5EF4-FFF2-40B4-BE49-F238E27FC236}">
                <a16:creationId xmlns:a16="http://schemas.microsoft.com/office/drawing/2014/main" id="{65FFB783-FB59-A288-BF04-A72FA95EACA9}"/>
              </a:ext>
            </a:extLst>
          </p:cNvPr>
          <p:cNvSpPr/>
          <p:nvPr/>
        </p:nvSpPr>
        <p:spPr>
          <a:xfrm>
            <a:off x="4006851" y="4365626"/>
            <a:ext cx="4268787" cy="112713"/>
          </a:xfrm>
          <a:prstGeom prst="rightArrow">
            <a:avLst/>
          </a:prstGeom>
          <a:solidFill>
            <a:srgbClr val="FF0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l-PL" sz="2133"/>
          </a:p>
        </p:txBody>
      </p:sp>
      <p:sp>
        <p:nvSpPr>
          <p:cNvPr id="40966" name="Symbol zastępczy zawartości 2">
            <a:extLst>
              <a:ext uri="{FF2B5EF4-FFF2-40B4-BE49-F238E27FC236}">
                <a16:creationId xmlns:a16="http://schemas.microsoft.com/office/drawing/2014/main" id="{36E9FC2C-5FDD-C17E-EA41-2668EBCBF77F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>
          <a:xfrm>
            <a:off x="2146300" y="2573338"/>
            <a:ext cx="4170362" cy="3065462"/>
          </a:xfrm>
        </p:spPr>
        <p:txBody>
          <a:bodyPr/>
          <a:lstStyle/>
          <a:p>
            <a:r>
              <a:rPr lang="pl-PL" altLang="pl-PL" sz="2000" dirty="0" err="1">
                <a:solidFill>
                  <a:schemeClr val="accent1">
                    <a:lumMod val="75000"/>
                  </a:schemeClr>
                </a:solidFill>
              </a:rPr>
              <a:t>rhGH</a:t>
            </a:r>
            <a:r>
              <a:rPr lang="pl-PL" altLang="pl-PL" sz="2000" dirty="0">
                <a:solidFill>
                  <a:schemeClr val="accent1">
                    <a:lumMod val="75000"/>
                  </a:schemeClr>
                </a:solidFill>
              </a:rPr>
              <a:t> podawany w codziennych iniekcjach podskórnych jest używany </a:t>
            </a: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od 1985 roku</a:t>
            </a:r>
          </a:p>
          <a:p>
            <a:endParaRPr lang="pl-PL" altLang="pl-PL" sz="20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pl-PL" altLang="pl-PL" sz="20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pl-PL" altLang="pl-PL" sz="2000" dirty="0" err="1">
                <a:solidFill>
                  <a:schemeClr val="accent1">
                    <a:lumMod val="75000"/>
                  </a:schemeClr>
                </a:solidFill>
              </a:rPr>
              <a:t>long-acting</a:t>
            </a:r>
            <a:r>
              <a:rPr lang="pl-PL" altLang="pl-PL" sz="2000" dirty="0">
                <a:solidFill>
                  <a:schemeClr val="accent1">
                    <a:lumMod val="75000"/>
                  </a:schemeClr>
                </a:solidFill>
              </a:rPr>
              <a:t> GH (LAGH) po raz pierwszy zastosowano w </a:t>
            </a: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1999 roku</a:t>
            </a:r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C77B8CDB-D799-DFAA-46D5-8BF8D3EBAF84}"/>
              </a:ext>
            </a:extLst>
          </p:cNvPr>
          <p:cNvSpPr txBox="1">
            <a:spLocks/>
          </p:cNvSpPr>
          <p:nvPr/>
        </p:nvSpPr>
        <p:spPr bwMode="gray">
          <a:xfrm>
            <a:off x="169567" y="124223"/>
            <a:ext cx="11336633" cy="62507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spc="-25" dirty="0">
                <a:solidFill>
                  <a:srgbClr val="0000CA"/>
                </a:solidFill>
                <a:latin typeface="Pfizer Tomorrow"/>
                <a:cs typeface="Arial"/>
              </a:rPr>
              <a:t>Long acting growth hormone (LAGH)</a:t>
            </a:r>
            <a:endParaRPr lang="pl-PL" dirty="0"/>
          </a:p>
        </p:txBody>
      </p:sp>
    </p:spTree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5458937-5585-C783-A16A-B4FBDD8B6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6169" y="2540554"/>
            <a:ext cx="8758395" cy="3954430"/>
          </a:xfrm>
        </p:spPr>
        <p:txBody>
          <a:bodyPr vert="horz" lIns="45720" tIns="45720" rIns="45720" bIns="45720" rtlCol="0" anchor="t">
            <a:noAutofit/>
          </a:bodyPr>
          <a:lstStyle/>
          <a:p>
            <a:pPr marL="287020" lvl="1" indent="0">
              <a:buSzPct val="100000"/>
              <a:buNone/>
            </a:pP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ormon Długo Działający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572770" lvl="1" indent="-285750"/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odawany 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raz w tygodniu 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jako iniekcja podskórna 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o dowolnej porze</a:t>
            </a:r>
          </a:p>
          <a:p>
            <a:pPr marL="572770" lvl="1" indent="-285750"/>
            <a:r>
              <a:rPr lang="pl-PL" sz="2000" dirty="0" err="1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Somatrogon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 jest poparty danymi dotyczącymi skuteczności i bezpieczeństwa, zebranymi przez okres do 8 lat, w leczeniu niedoboru GH u dzieci.</a:t>
            </a:r>
          </a:p>
          <a:p>
            <a:pPr marL="572770" indent="-285750"/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Wskazanie:</a:t>
            </a:r>
          </a:p>
          <a:p>
            <a:pPr marL="801302" lvl="1" indent="-285750"/>
            <a:r>
              <a:rPr lang="pl-PL" sz="1800" b="1" u="sng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Dzieci i młodzież 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w wieku 3 lat i starsi z zaburzeniami wzrostu spowodowanymi niedostatecznym wydzielaniem GH</a:t>
            </a:r>
          </a:p>
          <a:p>
            <a:pPr marL="572770" indent="-285750"/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Refundacja: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Program </a:t>
            </a:r>
            <a:r>
              <a:rPr lang="pl-PL" sz="2000">
                <a:solidFill>
                  <a:schemeClr val="accent1">
                    <a:lumMod val="75000"/>
                  </a:schemeClr>
                </a:solidFill>
                <a:cs typeface="Arial"/>
              </a:rPr>
              <a:t>Lekowy B.19 – 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rzetarg Centralny</a:t>
            </a:r>
          </a:p>
          <a:p>
            <a:pPr marL="801302" lvl="1" indent="-285750"/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Ngenla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(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Somatrogon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) 24 mg oraz 60 mg</a:t>
            </a:r>
            <a:br>
              <a:rPr lang="pl-PL" sz="1400" dirty="0">
                <a:cs typeface="Arial"/>
              </a:rPr>
            </a:br>
            <a:br>
              <a:rPr lang="pl-PL" sz="16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</a:br>
            <a:endParaRPr lang="pl-PL" sz="16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456565" lvl="1" indent="-169545">
              <a:buSzPct val="100000"/>
            </a:pPr>
            <a:endParaRPr lang="pl-PL" sz="20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EA9716A9-5C4F-2442-0E61-9B88EE3937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30096" y="1794607"/>
            <a:ext cx="5362760" cy="545625"/>
          </a:xfrm>
        </p:spPr>
        <p:txBody>
          <a:bodyPr vert="horz" wrap="square" lIns="0" tIns="45720" rIns="0" bIns="45720" rtlCol="0" anchor="t">
            <a:noAutofit/>
          </a:bodyPr>
          <a:lstStyle/>
          <a:p>
            <a:pPr marL="179705"/>
            <a:r>
              <a:rPr lang="pl-PL" sz="3200" b="1" dirty="0" err="1">
                <a:solidFill>
                  <a:schemeClr val="accent1"/>
                </a:solidFill>
              </a:rPr>
              <a:t>Ngenla</a:t>
            </a:r>
            <a:r>
              <a:rPr lang="pl-PL" sz="3200" b="1" dirty="0">
                <a:solidFill>
                  <a:schemeClr val="accent1"/>
                </a:solidFill>
              </a:rPr>
              <a:t> (</a:t>
            </a:r>
            <a:r>
              <a:rPr lang="pl-PL" sz="3200" b="1" dirty="0" err="1">
                <a:solidFill>
                  <a:schemeClr val="accent1"/>
                </a:solidFill>
              </a:rPr>
              <a:t>Soma</a:t>
            </a:r>
            <a:r>
              <a:rPr lang="pl-PL" sz="3200" dirty="0" err="1">
                <a:solidFill>
                  <a:schemeClr val="accent1"/>
                </a:solidFill>
              </a:rPr>
              <a:t>trogon</a:t>
            </a:r>
            <a:r>
              <a:rPr lang="pl-PL" sz="3200" b="1" dirty="0">
                <a:solidFill>
                  <a:schemeClr val="accent1"/>
                </a:solidFill>
              </a:rPr>
              <a:t>)</a:t>
            </a:r>
            <a:endParaRPr lang="pl-PL" sz="3200" b="1" baseline="30000" dirty="0">
              <a:solidFill>
                <a:schemeClr val="accent1"/>
              </a:solidFill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9E49545B-CE58-A9D6-441D-F2A71D6A6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927" y="239413"/>
            <a:ext cx="11823898" cy="615073"/>
          </a:xfrm>
        </p:spPr>
        <p:txBody>
          <a:bodyPr/>
          <a:lstStyle/>
          <a:p>
            <a:pPr algn="ctr"/>
            <a:r>
              <a:rPr lang="pl-PL" sz="4800" b="1" spc="-25" dirty="0" err="1">
                <a:solidFill>
                  <a:srgbClr val="0000CA"/>
                </a:solidFill>
                <a:latin typeface="Pfizer Tomorrow"/>
                <a:cs typeface="Arial"/>
              </a:rPr>
              <a:t>Long</a:t>
            </a:r>
            <a:r>
              <a:rPr lang="pl-PL" sz="4800" b="1" spc="-25" dirty="0">
                <a:solidFill>
                  <a:srgbClr val="0000CA"/>
                </a:solidFill>
                <a:latin typeface="Pfizer Tomorrow"/>
                <a:cs typeface="Arial"/>
              </a:rPr>
              <a:t> </a:t>
            </a:r>
            <a:r>
              <a:rPr lang="pl-PL" sz="4800" b="1" spc="-25" dirty="0" err="1">
                <a:solidFill>
                  <a:srgbClr val="0000CA"/>
                </a:solidFill>
                <a:latin typeface="Pfizer Tomorrow"/>
                <a:cs typeface="Arial"/>
              </a:rPr>
              <a:t>acting</a:t>
            </a:r>
            <a:r>
              <a:rPr lang="pl-PL" sz="4800" b="1" spc="-25" dirty="0">
                <a:solidFill>
                  <a:srgbClr val="0000CA"/>
                </a:solidFill>
                <a:latin typeface="Pfizer Tomorrow"/>
                <a:cs typeface="Arial"/>
              </a:rPr>
              <a:t> </a:t>
            </a:r>
            <a:r>
              <a:rPr lang="pl-PL" sz="4800" b="1" spc="-25" dirty="0" err="1">
                <a:solidFill>
                  <a:srgbClr val="0000CA"/>
                </a:solidFill>
                <a:latin typeface="Pfizer Tomorrow"/>
                <a:cs typeface="Arial"/>
              </a:rPr>
              <a:t>growth</a:t>
            </a:r>
            <a:r>
              <a:rPr lang="pl-PL" sz="4800" b="1" spc="-25" dirty="0">
                <a:solidFill>
                  <a:srgbClr val="0000CA"/>
                </a:solidFill>
                <a:latin typeface="Pfizer Tomorrow"/>
                <a:cs typeface="Arial"/>
              </a:rPr>
              <a:t> </a:t>
            </a:r>
            <a:r>
              <a:rPr lang="pl-PL" sz="4800" b="1" spc="-25" dirty="0" err="1">
                <a:solidFill>
                  <a:srgbClr val="0000CA"/>
                </a:solidFill>
                <a:latin typeface="Pfizer Tomorrow"/>
                <a:cs typeface="Arial"/>
              </a:rPr>
              <a:t>hormone</a:t>
            </a:r>
            <a:r>
              <a:rPr lang="pl-PL" sz="4800" b="1" spc="-25" dirty="0">
                <a:solidFill>
                  <a:srgbClr val="0000CA"/>
                </a:solidFill>
                <a:latin typeface="Pfizer Tomorrow"/>
                <a:cs typeface="Arial"/>
              </a:rPr>
              <a:t> (LAGH)</a:t>
            </a:r>
            <a:endParaRPr lang="en-US" sz="4800" dirty="0"/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6F75E2EF-CBC7-AB1C-A645-3A63829CD26F}"/>
              </a:ext>
            </a:extLst>
          </p:cNvPr>
          <p:cNvSpPr/>
          <p:nvPr/>
        </p:nvSpPr>
        <p:spPr bwMode="gray">
          <a:xfrm>
            <a:off x="5537023" y="1012852"/>
            <a:ext cx="557389" cy="657029"/>
          </a:xfrm>
          <a:prstGeom prst="downArrow">
            <a:avLst/>
          </a:prstGeom>
          <a:solidFill>
            <a:srgbClr val="003FE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>
              <a:ln w="0"/>
              <a:solidFill>
                <a:srgbClr val="003FE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5BC592-B44D-6498-1905-7017DE5386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3710" y="3525403"/>
            <a:ext cx="2735115" cy="33325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CEC4CA-B0E0-3D4B-52F9-5ADD72BC30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1208" y="1279516"/>
            <a:ext cx="3987617" cy="1459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0999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8BE096FC-F964-65B6-7936-C68AE897D82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 err="1">
                <a:solidFill>
                  <a:srgbClr val="0000CA"/>
                </a:solidFill>
                <a:latin typeface="Pfizer Tomorrow"/>
              </a:rPr>
              <a:t>Somatrogon</a:t>
            </a:r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 (</a:t>
            </a:r>
            <a:r>
              <a:rPr lang="pl-PL" sz="4800" b="1" dirty="0" err="1">
                <a:solidFill>
                  <a:srgbClr val="0000CA"/>
                </a:solidFill>
                <a:latin typeface="Pfizer Tomorrow"/>
              </a:rPr>
              <a:t>Ngenla</a:t>
            </a:r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)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679AD48-50EF-F4C8-7377-6AC54C8C49A3}"/>
              </a:ext>
            </a:extLst>
          </p:cNvPr>
          <p:cNvSpPr txBox="1">
            <a:spLocks/>
          </p:cNvSpPr>
          <p:nvPr/>
        </p:nvSpPr>
        <p:spPr bwMode="gray">
          <a:xfrm>
            <a:off x="4912242" y="4010049"/>
            <a:ext cx="7276583" cy="1527935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9920" lvl="1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Za okres półtrwania </a:t>
            </a:r>
            <a:r>
              <a:rPr lang="pl-PL" sz="2000" dirty="0" err="1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somatrogonu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 odpowiada </a:t>
            </a:r>
            <a:r>
              <a:rPr lang="pl-PL" sz="2000" dirty="0" err="1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glikozylacja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 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CTP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, co pozwala na 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dawkowanie raz na</a:t>
            </a:r>
            <a:r>
              <a:rPr lang="pl-PL" sz="20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tydzień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.</a:t>
            </a:r>
            <a:endParaRPr lang="pl-PL" sz="20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629920" lvl="1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pl-PL" sz="20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wiąże się z receptorem GH i inicjuje kaskadę </a:t>
            </a:r>
            <a:r>
              <a:rPr lang="pl-PL" sz="2000" dirty="0">
                <a:solidFill>
                  <a:srgbClr val="000096"/>
                </a:solidFill>
                <a:cs typeface="Arial"/>
              </a:rPr>
              <a:t>sygnałową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STAT5b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i powodując syntezę IGF-1. 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8C7D68-D0FA-321D-61DD-AAE6FD320A3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62" r="3906"/>
          <a:stretch/>
        </p:blipFill>
        <p:spPr>
          <a:xfrm>
            <a:off x="255181" y="3365305"/>
            <a:ext cx="4723219" cy="2885835"/>
          </a:xfrm>
          <a:prstGeom prst="rect">
            <a:avLst/>
          </a:prstGeom>
          <a:noFill/>
        </p:spPr>
      </p:pic>
      <p:sp>
        <p:nvSpPr>
          <p:cNvPr id="7" name="Symbol zastępczy zawartości 3">
            <a:extLst>
              <a:ext uri="{FF2B5EF4-FFF2-40B4-BE49-F238E27FC236}">
                <a16:creationId xmlns:a16="http://schemas.microsoft.com/office/drawing/2014/main" id="{7BFA369F-349F-BA8E-9638-08C5116ED4CB}"/>
              </a:ext>
            </a:extLst>
          </p:cNvPr>
          <p:cNvSpPr txBox="1">
            <a:spLocks/>
          </p:cNvSpPr>
          <p:nvPr/>
        </p:nvSpPr>
        <p:spPr bwMode="gray">
          <a:xfrm>
            <a:off x="255181" y="1365304"/>
            <a:ext cx="11377993" cy="1316901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20" lvl="1" indent="0">
              <a:lnSpc>
                <a:spcPct val="100000"/>
              </a:lnSpc>
              <a:buNone/>
            </a:pPr>
            <a:r>
              <a:rPr lang="pl-PL" sz="24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r>
              <a:rPr lang="pl-PL" sz="24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jest glikoproteiną </a:t>
            </a: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kładającą się z:</a:t>
            </a:r>
          </a:p>
          <a:p>
            <a:pPr marL="572770" lvl="1" indent="-285750">
              <a:lnSpc>
                <a:spcPct val="100000"/>
              </a:lnSpc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ekwencji aminokwasowej </a:t>
            </a:r>
            <a:r>
              <a:rPr lang="pl-PL" sz="20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GH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endParaRPr lang="pl-PL" sz="2000" dirty="0">
              <a:solidFill>
                <a:schemeClr val="accent1">
                  <a:lumMod val="75000"/>
                </a:schemeClr>
              </a:solidFill>
              <a:cs typeface="Arial" panose="020B0604020202020204"/>
            </a:endParaRPr>
          </a:p>
          <a:p>
            <a:pPr marL="572770" lvl="1" indent="-285750">
              <a:lnSpc>
                <a:spcPct val="100000"/>
              </a:lnSpc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trzech kopii części C-końcowej peptydu (CTP, ang. C-terminal </a:t>
            </a:r>
            <a:r>
              <a:rPr lang="pl-PL" sz="2000" dirty="0" err="1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peptide</a:t>
            </a:r>
            <a:r>
              <a:rPr lang="pl-PL" sz="20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), pochodzących z podjednostki beta ludzkiej gonadotropiny - jedna na końcu N i dwie kopie (w tandemie) na końcu C</a:t>
            </a:r>
            <a:r>
              <a:rPr lang="pl-PL" sz="24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. </a:t>
            </a:r>
            <a:endParaRPr lang="en-US" sz="2400" b="1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AD6349-E8F4-325D-0636-DDC2C4749905}"/>
              </a:ext>
            </a:extLst>
          </p:cNvPr>
          <p:cNvSpPr txBox="1"/>
          <p:nvPr/>
        </p:nvSpPr>
        <p:spPr bwMode="gray">
          <a:xfrm>
            <a:off x="4978400" y="6642556"/>
            <a:ext cx="707971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700" dirty="0"/>
              <a:t>1.</a:t>
            </a:r>
            <a:r>
              <a:rPr lang="it-IT" sz="700" dirty="0"/>
              <a:t>Deal CL et al. J Clin Endocrinol Metab. 2022;107:e2717–e2728</a:t>
            </a:r>
            <a:r>
              <a:rPr lang="pl-PL" sz="700" dirty="0"/>
              <a:t>, 2. </a:t>
            </a:r>
            <a:r>
              <a:rPr lang="pl-PL" sz="700" dirty="0" err="1"/>
              <a:t>Chrakterystyka</a:t>
            </a:r>
            <a:r>
              <a:rPr lang="pl-PL" sz="700" dirty="0"/>
              <a:t> Produktu Leczniczego </a:t>
            </a:r>
            <a:r>
              <a:rPr lang="pl-PL" sz="700" dirty="0" err="1"/>
              <a:t>Ngenla</a:t>
            </a:r>
            <a:r>
              <a:rPr lang="pl-PL" sz="700" dirty="0"/>
              <a:t> (</a:t>
            </a:r>
            <a:r>
              <a:rPr lang="pl-PL" sz="700" dirty="0" err="1"/>
              <a:t>Somatrogon</a:t>
            </a:r>
            <a:r>
              <a:rPr lang="pl-PL" sz="700" dirty="0"/>
              <a:t>) 03/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F43388-A8DB-C085-DB09-1C1C8E54E9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9345" y="15389"/>
            <a:ext cx="2555881" cy="2206630"/>
          </a:xfrm>
          <a:prstGeom prst="rect">
            <a:avLst/>
          </a:prstGeom>
        </p:spPr>
      </p:pic>
    </p:spTree>
  </p:cSld>
  <p:clrMapOvr>
    <a:masterClrMapping/>
  </p:clrMapOvr>
  <p:transition spd="slow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142CDED-5457-EC76-5D46-6671B6777F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96DA590A-5303-395F-21CC-A6014A05B82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Agenda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333445B5-A5E8-4399-CD49-066AC18775B9}"/>
              </a:ext>
            </a:extLst>
          </p:cNvPr>
          <p:cNvSpPr txBox="1">
            <a:spLocks/>
          </p:cNvSpPr>
          <p:nvPr/>
        </p:nvSpPr>
        <p:spPr bwMode="gray">
          <a:xfrm>
            <a:off x="443599" y="1714303"/>
            <a:ext cx="9008745" cy="4280925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Codzienna terap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rhGH</a:t>
            </a: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, obciążenie i zgodność z terapią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LAGH i mechanizm działan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gram kliniczny </a:t>
            </a:r>
            <a:r>
              <a:rPr lang="pl-PL" sz="2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awka oraz sposób podawan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Monitorowanie poziomów IGF-1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C3272C67-4B62-193A-650D-E7852C53FD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46887"/>
      </p:ext>
    </p:extLst>
  </p:cSld>
  <p:clrMapOvr>
    <a:masterClrMapping/>
  </p:clrMapOvr>
  <p:transition spd="slow"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Text Placeholder 33">
            <a:extLst>
              <a:ext uri="{FF2B5EF4-FFF2-40B4-BE49-F238E27FC236}">
                <a16:creationId xmlns:a16="http://schemas.microsoft.com/office/drawing/2014/main" id="{FE10A381-2EB7-2CFF-2202-7E5DEAC2DCCB}"/>
              </a:ext>
            </a:extLst>
          </p:cNvPr>
          <p:cNvSpPr txBox="1">
            <a:spLocks/>
          </p:cNvSpPr>
          <p:nvPr/>
        </p:nvSpPr>
        <p:spPr>
          <a:xfrm>
            <a:off x="659143" y="2043036"/>
            <a:ext cx="1326008" cy="281656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kern="1200">
                <a:solidFill>
                  <a:srgbClr val="1F3D87"/>
                </a:solidFill>
                <a:latin typeface="Montserrat SemiBold" panose="000007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>
              <a:defRPr/>
            </a:pPr>
            <a:r>
              <a:rPr lang="en-GB" sz="1600" b="1" dirty="0">
                <a:solidFill>
                  <a:prstClr val="white"/>
                </a:solidFill>
                <a:latin typeface="Arial" panose="020B0604020202020204"/>
              </a:rPr>
              <a:t>CP-4-004</a:t>
            </a:r>
          </a:p>
        </p:txBody>
      </p:sp>
      <p:grpSp>
        <p:nvGrpSpPr>
          <p:cNvPr id="125" name="Groupe 9">
            <a:extLst>
              <a:ext uri="{FF2B5EF4-FFF2-40B4-BE49-F238E27FC236}">
                <a16:creationId xmlns:a16="http://schemas.microsoft.com/office/drawing/2014/main" id="{401EF052-F9B4-C976-5F1D-ED444E19FF28}"/>
              </a:ext>
            </a:extLst>
          </p:cNvPr>
          <p:cNvGrpSpPr/>
          <p:nvPr/>
        </p:nvGrpSpPr>
        <p:grpSpPr>
          <a:xfrm>
            <a:off x="381528" y="1170674"/>
            <a:ext cx="1820119" cy="4408494"/>
            <a:chOff x="515416" y="1437613"/>
            <a:chExt cx="1820593" cy="4409642"/>
          </a:xfrm>
        </p:grpSpPr>
        <p:pic>
          <p:nvPicPr>
            <p:cNvPr id="126" name="Picture 125" descr="A picture containing background pattern&#10;&#10;Description automatically generated">
              <a:extLst>
                <a:ext uri="{FF2B5EF4-FFF2-40B4-BE49-F238E27FC236}">
                  <a16:creationId xmlns:a16="http://schemas.microsoft.com/office/drawing/2014/main" id="{F7D15D65-763C-8174-E37F-BFD1AA3BB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5416" y="1437613"/>
              <a:ext cx="1820593" cy="4409642"/>
            </a:xfrm>
            <a:prstGeom prst="rect">
              <a:avLst/>
            </a:prstGeom>
          </p:spPr>
        </p:pic>
        <p:sp>
          <p:nvSpPr>
            <p:cNvPr id="127" name="Text Placeholder 33">
              <a:extLst>
                <a:ext uri="{FF2B5EF4-FFF2-40B4-BE49-F238E27FC236}">
                  <a16:creationId xmlns:a16="http://schemas.microsoft.com/office/drawing/2014/main" id="{F127467D-6B8F-52B2-AF50-807F0D230E0F}"/>
                </a:ext>
              </a:extLst>
            </p:cNvPr>
            <p:cNvSpPr txBox="1">
              <a:spLocks/>
            </p:cNvSpPr>
            <p:nvPr/>
          </p:nvSpPr>
          <p:spPr>
            <a:xfrm>
              <a:off x="803724" y="1708662"/>
              <a:ext cx="1055151" cy="311486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 fontScale="85000" lnSpcReduction="10000"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600" b="1" dirty="0">
                  <a:solidFill>
                    <a:prstClr val="white"/>
                  </a:solidFill>
                  <a:latin typeface="Arial" panose="020B0604020202020204"/>
                </a:rPr>
                <a:t>CP-4-004</a:t>
              </a:r>
              <a:r>
                <a:rPr lang="en-US" sz="1600" baseline="30000" dirty="0">
                  <a:solidFill>
                    <a:srgbClr val="FFFFFF"/>
                  </a:solidFill>
                  <a:latin typeface="Arial" panose="020B0604020202020204"/>
                </a:rPr>
                <a:t>1</a:t>
              </a:r>
              <a:endParaRPr lang="en-GB" sz="1600" b="1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28" name="Text Placeholder 33">
              <a:extLst>
                <a:ext uri="{FF2B5EF4-FFF2-40B4-BE49-F238E27FC236}">
                  <a16:creationId xmlns:a16="http://schemas.microsoft.com/office/drawing/2014/main" id="{8F1B84DC-3B87-A2E1-6BF6-261E813E8066}"/>
                </a:ext>
              </a:extLst>
            </p:cNvPr>
            <p:cNvSpPr txBox="1">
              <a:spLocks/>
            </p:cNvSpPr>
            <p:nvPr/>
          </p:nvSpPr>
          <p:spPr>
            <a:xfrm>
              <a:off x="783860" y="2538992"/>
              <a:ext cx="1061631" cy="281729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 lnSpcReduction="10000"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pl-PL" sz="1400" b="1" dirty="0">
                  <a:solidFill>
                    <a:srgbClr val="6E7DC8"/>
                  </a:solidFill>
                  <a:latin typeface="Arial" panose="020B0604020202020204"/>
                </a:rPr>
                <a:t>Faza</a:t>
              </a:r>
              <a:r>
                <a:rPr lang="en-GB" sz="1400" b="1" dirty="0">
                  <a:solidFill>
                    <a:srgbClr val="6E7DC8"/>
                  </a:solidFill>
                  <a:latin typeface="Arial" panose="020B0604020202020204"/>
                </a:rPr>
                <a:t> 2</a:t>
              </a:r>
            </a:p>
          </p:txBody>
        </p:sp>
        <p:sp>
          <p:nvSpPr>
            <p:cNvPr id="129" name="Content Placeholder 9">
              <a:extLst>
                <a:ext uri="{FF2B5EF4-FFF2-40B4-BE49-F238E27FC236}">
                  <a16:creationId xmlns:a16="http://schemas.microsoft.com/office/drawing/2014/main" id="{022E7CC8-28C2-94E0-02C4-2329AD9BEE2A}"/>
                </a:ext>
              </a:extLst>
            </p:cNvPr>
            <p:cNvSpPr txBox="1">
              <a:spLocks/>
            </p:cNvSpPr>
            <p:nvPr/>
          </p:nvSpPr>
          <p:spPr>
            <a:xfrm>
              <a:off x="677977" y="2881150"/>
              <a:ext cx="1326353" cy="116355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pl-PL" altLang="en-US" sz="1200" dirty="0">
                  <a:solidFill>
                    <a:srgbClr val="000000"/>
                  </a:solidFill>
                  <a:latin typeface="Arial" panose="020B0604020202020204"/>
                </a:rPr>
                <a:t>Bezpieczeństwo, Skuteczność </a:t>
              </a:r>
              <a:br>
                <a:rPr lang="pl-PL" altLang="en-US" sz="1200" dirty="0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pl-PL" altLang="en-US" sz="1200" dirty="0">
                  <a:solidFill>
                    <a:srgbClr val="000000"/>
                  </a:solidFill>
                  <a:latin typeface="Arial" panose="020B0604020202020204"/>
                </a:rPr>
                <a:t>i Ustalanie Dawki w porównaniu z </a:t>
              </a:r>
              <a:r>
                <a:rPr lang="pl-PL" altLang="en-US" sz="1200" dirty="0" err="1">
                  <a:solidFill>
                    <a:srgbClr val="000000"/>
                  </a:solidFill>
                  <a:latin typeface="Arial" panose="020B0604020202020204"/>
                </a:rPr>
                <a:t>Genotropiną</a:t>
              </a:r>
              <a:endParaRPr lang="en-US" altLang="en-US" sz="12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30" name="Content Placeholder 9">
              <a:extLst>
                <a:ext uri="{FF2B5EF4-FFF2-40B4-BE49-F238E27FC236}">
                  <a16:creationId xmlns:a16="http://schemas.microsoft.com/office/drawing/2014/main" id="{8A7A0C69-4DD6-B5C2-D85B-77B5C4ADB861}"/>
                </a:ext>
              </a:extLst>
            </p:cNvPr>
            <p:cNvSpPr txBox="1">
              <a:spLocks/>
            </p:cNvSpPr>
            <p:nvPr/>
          </p:nvSpPr>
          <p:spPr>
            <a:xfrm>
              <a:off x="616401" y="4115486"/>
              <a:ext cx="1310703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6E7DC8"/>
                  </a:solidFill>
                  <a:latin typeface="Arial" panose="020B0604020202020204"/>
                </a:rPr>
                <a:t>53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GHD patients</a:t>
              </a:r>
              <a:b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</a:br>
              <a:r>
                <a:rPr lang="en-US" altLang="en-US" sz="1200" b="1" dirty="0">
                  <a:solidFill>
                    <a:srgbClr val="6E7DC8"/>
                  </a:solidFill>
                  <a:latin typeface="Arial" panose="020B0604020202020204"/>
                </a:rPr>
                <a:t>12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months</a:t>
              </a:r>
            </a:p>
          </p:txBody>
        </p:sp>
        <p:sp>
          <p:nvSpPr>
            <p:cNvPr id="131" name="Content Placeholder 9">
              <a:extLst>
                <a:ext uri="{FF2B5EF4-FFF2-40B4-BE49-F238E27FC236}">
                  <a16:creationId xmlns:a16="http://schemas.microsoft.com/office/drawing/2014/main" id="{62DE73BD-EECA-299E-8B75-561A49421AC5}"/>
                </a:ext>
              </a:extLst>
            </p:cNvPr>
            <p:cNvSpPr txBox="1">
              <a:spLocks/>
            </p:cNvSpPr>
            <p:nvPr/>
          </p:nvSpPr>
          <p:spPr>
            <a:xfrm>
              <a:off x="662812" y="4837033"/>
              <a:ext cx="1273396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6E7DC8"/>
                  </a:solidFill>
                  <a:latin typeface="Arial" panose="020B0604020202020204"/>
                </a:rPr>
                <a:t>Naïve </a:t>
              </a:r>
              <a:r>
                <a:rPr lang="pl-PL" altLang="en-US" sz="1200" dirty="0">
                  <a:solidFill>
                    <a:srgbClr val="6E7DC8"/>
                  </a:solidFill>
                  <a:latin typeface="Arial" panose="020B0604020202020204"/>
                </a:rPr>
                <a:t>from </a:t>
              </a:r>
              <a:r>
                <a:rPr lang="pl-PL" altLang="en-US" sz="1200" dirty="0" err="1">
                  <a:solidFill>
                    <a:srgbClr val="6E7DC8"/>
                  </a:solidFill>
                  <a:latin typeface="Arial" panose="020B0604020202020204"/>
                </a:rPr>
                <a:t>treatment</a:t>
              </a:r>
              <a:endParaRPr lang="en-US" altLang="en-US" sz="1200" dirty="0">
                <a:solidFill>
                  <a:srgbClr val="6E7DC8"/>
                </a:solidFill>
                <a:latin typeface="Arial" panose="020B0604020202020204"/>
              </a:endParaRPr>
            </a:p>
          </p:txBody>
        </p:sp>
      </p:grpSp>
      <p:grpSp>
        <p:nvGrpSpPr>
          <p:cNvPr id="132" name="Groupe 2">
            <a:extLst>
              <a:ext uri="{FF2B5EF4-FFF2-40B4-BE49-F238E27FC236}">
                <a16:creationId xmlns:a16="http://schemas.microsoft.com/office/drawing/2014/main" id="{35D87118-B0B8-176B-7317-A52F50821459}"/>
              </a:ext>
            </a:extLst>
          </p:cNvPr>
          <p:cNvGrpSpPr/>
          <p:nvPr/>
        </p:nvGrpSpPr>
        <p:grpSpPr>
          <a:xfrm>
            <a:off x="3480414" y="1181110"/>
            <a:ext cx="1816596" cy="4662182"/>
            <a:chOff x="2729625" y="1392218"/>
            <a:chExt cx="1817069" cy="4401107"/>
          </a:xfrm>
        </p:grpSpPr>
        <p:pic>
          <p:nvPicPr>
            <p:cNvPr id="133" name="Picture 132" descr="A picture containing background pattern&#10;&#10;Description automatically generated">
              <a:extLst>
                <a:ext uri="{FF2B5EF4-FFF2-40B4-BE49-F238E27FC236}">
                  <a16:creationId xmlns:a16="http://schemas.microsoft.com/office/drawing/2014/main" id="{BEB511F0-A33D-FACF-1B4D-A80F9D515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29625" y="1392218"/>
              <a:ext cx="1817069" cy="4401107"/>
            </a:xfrm>
            <a:prstGeom prst="rect">
              <a:avLst/>
            </a:prstGeom>
          </p:spPr>
        </p:pic>
        <p:sp>
          <p:nvSpPr>
            <p:cNvPr id="134" name="Text Placeholder 33">
              <a:extLst>
                <a:ext uri="{FF2B5EF4-FFF2-40B4-BE49-F238E27FC236}">
                  <a16:creationId xmlns:a16="http://schemas.microsoft.com/office/drawing/2014/main" id="{B00CF007-AF35-252C-670A-6BF6EC8449DF}"/>
                </a:ext>
              </a:extLst>
            </p:cNvPr>
            <p:cNvSpPr txBox="1">
              <a:spLocks/>
            </p:cNvSpPr>
            <p:nvPr/>
          </p:nvSpPr>
          <p:spPr>
            <a:xfrm>
              <a:off x="3075945" y="1632695"/>
              <a:ext cx="1061631" cy="281729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 fontScale="85000" lnSpcReduction="10000"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600" b="1" dirty="0">
                  <a:solidFill>
                    <a:prstClr val="white"/>
                  </a:solidFill>
                  <a:latin typeface="Arial" panose="020B0604020202020204"/>
                </a:rPr>
                <a:t>CP-4-006</a:t>
              </a:r>
              <a:r>
                <a:rPr lang="el-GR" sz="1600" baseline="30000" dirty="0">
                  <a:solidFill>
                    <a:srgbClr val="FFFFFF"/>
                  </a:solidFill>
                  <a:latin typeface="Arial" panose="020B0604020202020204"/>
                </a:rPr>
                <a:t>3</a:t>
              </a:r>
              <a:endParaRPr lang="en-GB" sz="1600" b="1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135" name="Text Placeholder 33">
              <a:extLst>
                <a:ext uri="{FF2B5EF4-FFF2-40B4-BE49-F238E27FC236}">
                  <a16:creationId xmlns:a16="http://schemas.microsoft.com/office/drawing/2014/main" id="{37CC3FEB-76EA-309D-FC42-3B0E6952E8CE}"/>
                </a:ext>
              </a:extLst>
            </p:cNvPr>
            <p:cNvSpPr txBox="1">
              <a:spLocks/>
            </p:cNvSpPr>
            <p:nvPr/>
          </p:nvSpPr>
          <p:spPr>
            <a:xfrm>
              <a:off x="3031926" y="2473676"/>
              <a:ext cx="1061631" cy="281729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pl-PL" sz="1400" b="1" dirty="0">
                  <a:solidFill>
                    <a:srgbClr val="813F6E"/>
                  </a:solidFill>
                  <a:latin typeface="Arial" panose="020B0604020202020204"/>
                </a:rPr>
                <a:t>Faza</a:t>
              </a:r>
              <a:r>
                <a:rPr lang="en-GB" sz="1400" b="1" dirty="0">
                  <a:solidFill>
                    <a:srgbClr val="813F6E"/>
                  </a:solidFill>
                  <a:latin typeface="Arial" panose="020B0604020202020204"/>
                </a:rPr>
                <a:t> 3</a:t>
              </a:r>
            </a:p>
          </p:txBody>
        </p:sp>
        <p:sp>
          <p:nvSpPr>
            <p:cNvPr id="136" name="Content Placeholder 9">
              <a:extLst>
                <a:ext uri="{FF2B5EF4-FFF2-40B4-BE49-F238E27FC236}">
                  <a16:creationId xmlns:a16="http://schemas.microsoft.com/office/drawing/2014/main" id="{529BD7A5-70E4-86BB-CF6E-B4D001D674E3}"/>
                </a:ext>
              </a:extLst>
            </p:cNvPr>
            <p:cNvSpPr txBox="1">
              <a:spLocks/>
            </p:cNvSpPr>
            <p:nvPr/>
          </p:nvSpPr>
          <p:spPr>
            <a:xfrm>
              <a:off x="2916764" y="2755988"/>
              <a:ext cx="1273396" cy="423465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Non-Inferiority to Genotropin</a:t>
              </a:r>
            </a:p>
          </p:txBody>
        </p:sp>
        <p:sp>
          <p:nvSpPr>
            <p:cNvPr id="137" name="Content Placeholder 9">
              <a:extLst>
                <a:ext uri="{FF2B5EF4-FFF2-40B4-BE49-F238E27FC236}">
                  <a16:creationId xmlns:a16="http://schemas.microsoft.com/office/drawing/2014/main" id="{15205D8A-1265-209D-4DF2-7050135574B6}"/>
                </a:ext>
              </a:extLst>
            </p:cNvPr>
            <p:cNvSpPr txBox="1">
              <a:spLocks/>
            </p:cNvSpPr>
            <p:nvPr/>
          </p:nvSpPr>
          <p:spPr>
            <a:xfrm>
              <a:off x="2757906" y="3567915"/>
              <a:ext cx="1438311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813F6E"/>
                  </a:solidFill>
                  <a:latin typeface="Arial" panose="020B0604020202020204"/>
                </a:rPr>
                <a:t>224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GHD patients</a:t>
              </a:r>
              <a:b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</a:br>
              <a:r>
                <a:rPr lang="en-US" altLang="en-US" sz="1200" b="1" dirty="0">
                  <a:solidFill>
                    <a:srgbClr val="813F6E"/>
                  </a:solidFill>
                  <a:latin typeface="Arial" panose="020B0604020202020204"/>
                </a:rPr>
                <a:t>12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months</a:t>
              </a:r>
            </a:p>
          </p:txBody>
        </p:sp>
        <p:sp>
          <p:nvSpPr>
            <p:cNvPr id="138" name="Content Placeholder 9">
              <a:extLst>
                <a:ext uri="{FF2B5EF4-FFF2-40B4-BE49-F238E27FC236}">
                  <a16:creationId xmlns:a16="http://schemas.microsoft.com/office/drawing/2014/main" id="{CE0C598A-2132-EA66-7AEB-0832B2A3940E}"/>
                </a:ext>
              </a:extLst>
            </p:cNvPr>
            <p:cNvSpPr txBox="1">
              <a:spLocks/>
            </p:cNvSpPr>
            <p:nvPr/>
          </p:nvSpPr>
          <p:spPr>
            <a:xfrm>
              <a:off x="2916764" y="4198052"/>
              <a:ext cx="1273396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813F6E"/>
                  </a:solidFill>
                  <a:latin typeface="Arial" panose="020B0604020202020204"/>
                </a:rPr>
                <a:t>Naïve</a:t>
              </a:r>
              <a:r>
                <a:rPr lang="en-US" altLang="en-US" sz="1200" dirty="0">
                  <a:solidFill>
                    <a:srgbClr val="813F6E"/>
                  </a:solidFill>
                  <a:latin typeface="Arial" panose="020B0604020202020204"/>
                </a:rPr>
                <a:t> from treatment</a:t>
              </a:r>
            </a:p>
          </p:txBody>
        </p:sp>
      </p:grpSp>
      <p:grpSp>
        <p:nvGrpSpPr>
          <p:cNvPr id="139" name="Groupe 1">
            <a:extLst>
              <a:ext uri="{FF2B5EF4-FFF2-40B4-BE49-F238E27FC236}">
                <a16:creationId xmlns:a16="http://schemas.microsoft.com/office/drawing/2014/main" id="{C55DB61D-A112-908B-2606-AFD1AADED8DF}"/>
              </a:ext>
            </a:extLst>
          </p:cNvPr>
          <p:cNvGrpSpPr/>
          <p:nvPr/>
        </p:nvGrpSpPr>
        <p:grpSpPr>
          <a:xfrm>
            <a:off x="6658658" y="1195567"/>
            <a:ext cx="1923977" cy="4399961"/>
            <a:chOff x="4984356" y="1376763"/>
            <a:chExt cx="1924478" cy="4401107"/>
          </a:xfrm>
        </p:grpSpPr>
        <p:pic>
          <p:nvPicPr>
            <p:cNvPr id="140" name="Picture 139" descr="A picture containing background pattern&#10;&#10;Description automatically generated">
              <a:extLst>
                <a:ext uri="{FF2B5EF4-FFF2-40B4-BE49-F238E27FC236}">
                  <a16:creationId xmlns:a16="http://schemas.microsoft.com/office/drawing/2014/main" id="{EB0EB21C-9EC2-5FC0-9A1C-DADCB73BF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91765" y="1376763"/>
              <a:ext cx="1817069" cy="4401107"/>
            </a:xfrm>
            <a:prstGeom prst="rect">
              <a:avLst/>
            </a:prstGeom>
          </p:spPr>
        </p:pic>
        <p:sp>
          <p:nvSpPr>
            <p:cNvPr id="141" name="Text Placeholder 33">
              <a:extLst>
                <a:ext uri="{FF2B5EF4-FFF2-40B4-BE49-F238E27FC236}">
                  <a16:creationId xmlns:a16="http://schemas.microsoft.com/office/drawing/2014/main" id="{0BB50669-8899-1FA2-57A4-A9BCE2B97E49}"/>
                </a:ext>
              </a:extLst>
            </p:cNvPr>
            <p:cNvSpPr txBox="1">
              <a:spLocks/>
            </p:cNvSpPr>
            <p:nvPr/>
          </p:nvSpPr>
          <p:spPr>
            <a:xfrm>
              <a:off x="5440269" y="1715916"/>
              <a:ext cx="1061631" cy="281729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 fontScale="85000" lnSpcReduction="10000"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600" b="1" dirty="0">
                  <a:solidFill>
                    <a:prstClr val="white"/>
                  </a:solidFill>
                  <a:latin typeface="Arial" panose="020B0604020202020204"/>
                </a:rPr>
                <a:t>CP-4-009</a:t>
              </a:r>
              <a:r>
                <a:rPr lang="el-GR" sz="1600" baseline="300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GB" sz="1600" b="1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142" name="Text Placeholder 33">
              <a:extLst>
                <a:ext uri="{FF2B5EF4-FFF2-40B4-BE49-F238E27FC236}">
                  <a16:creationId xmlns:a16="http://schemas.microsoft.com/office/drawing/2014/main" id="{2B670D4F-6B5E-5409-C372-BC5198090125}"/>
                </a:ext>
              </a:extLst>
            </p:cNvPr>
            <p:cNvSpPr txBox="1">
              <a:spLocks/>
            </p:cNvSpPr>
            <p:nvPr/>
          </p:nvSpPr>
          <p:spPr>
            <a:xfrm>
              <a:off x="5361918" y="2473676"/>
              <a:ext cx="1061631" cy="281729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 lnSpcReduction="10000"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pl-PL" sz="1400" b="1" dirty="0">
                  <a:solidFill>
                    <a:srgbClr val="529470"/>
                  </a:solidFill>
                  <a:latin typeface="Arial" panose="020B0604020202020204"/>
                </a:rPr>
                <a:t>Faza</a:t>
              </a:r>
              <a:r>
                <a:rPr lang="en-GB" sz="1400" b="1" dirty="0">
                  <a:solidFill>
                    <a:srgbClr val="529470"/>
                  </a:solidFill>
                  <a:latin typeface="Arial" panose="020B0604020202020204"/>
                </a:rPr>
                <a:t> 3</a:t>
              </a:r>
            </a:p>
          </p:txBody>
        </p:sp>
        <p:sp>
          <p:nvSpPr>
            <p:cNvPr id="143" name="Content Placeholder 9">
              <a:extLst>
                <a:ext uri="{FF2B5EF4-FFF2-40B4-BE49-F238E27FC236}">
                  <a16:creationId xmlns:a16="http://schemas.microsoft.com/office/drawing/2014/main" id="{8A60FA19-2416-536D-1CF7-4B3A410E5C04}"/>
                </a:ext>
              </a:extLst>
            </p:cNvPr>
            <p:cNvSpPr txBox="1">
              <a:spLocks/>
            </p:cNvSpPr>
            <p:nvPr/>
          </p:nvSpPr>
          <p:spPr>
            <a:xfrm>
              <a:off x="5245652" y="2738194"/>
              <a:ext cx="1273396" cy="423465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Dose </a:t>
              </a:r>
              <a:b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escalation vs Genotropin</a:t>
              </a:r>
            </a:p>
          </p:txBody>
        </p:sp>
        <p:sp>
          <p:nvSpPr>
            <p:cNvPr id="144" name="Content Placeholder 9">
              <a:extLst>
                <a:ext uri="{FF2B5EF4-FFF2-40B4-BE49-F238E27FC236}">
                  <a16:creationId xmlns:a16="http://schemas.microsoft.com/office/drawing/2014/main" id="{D228D924-97DE-C12B-A0D2-C382176A0E11}"/>
                </a:ext>
              </a:extLst>
            </p:cNvPr>
            <p:cNvSpPr txBox="1">
              <a:spLocks/>
            </p:cNvSpPr>
            <p:nvPr/>
          </p:nvSpPr>
          <p:spPr>
            <a:xfrm>
              <a:off x="4984356" y="3567915"/>
              <a:ext cx="1627932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529470"/>
                  </a:solidFill>
                  <a:latin typeface="Arial" panose="020B0604020202020204"/>
                </a:rPr>
                <a:t>44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Japanese patients</a:t>
              </a:r>
              <a:b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</a:br>
              <a:r>
                <a:rPr lang="en-US" altLang="en-US" sz="1200" b="1" dirty="0">
                  <a:solidFill>
                    <a:srgbClr val="529470"/>
                  </a:solidFill>
                  <a:latin typeface="Arial" panose="020B0604020202020204"/>
                </a:rPr>
                <a:t>12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months</a:t>
              </a:r>
            </a:p>
          </p:txBody>
        </p:sp>
        <p:sp>
          <p:nvSpPr>
            <p:cNvPr id="145" name="Content Placeholder 9">
              <a:extLst>
                <a:ext uri="{FF2B5EF4-FFF2-40B4-BE49-F238E27FC236}">
                  <a16:creationId xmlns:a16="http://schemas.microsoft.com/office/drawing/2014/main" id="{14086192-736A-B458-72D4-2B6780EC4469}"/>
                </a:ext>
              </a:extLst>
            </p:cNvPr>
            <p:cNvSpPr txBox="1">
              <a:spLocks/>
            </p:cNvSpPr>
            <p:nvPr/>
          </p:nvSpPr>
          <p:spPr>
            <a:xfrm>
              <a:off x="5216297" y="4198052"/>
              <a:ext cx="1273396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529470"/>
                  </a:solidFill>
                  <a:latin typeface="Arial" panose="020B0604020202020204"/>
                </a:rPr>
                <a:t>Naïve </a:t>
              </a:r>
              <a:r>
                <a:rPr lang="en-US" altLang="en-US" sz="1200" dirty="0">
                  <a:solidFill>
                    <a:srgbClr val="529470"/>
                  </a:solidFill>
                  <a:latin typeface="Arial" panose="020B0604020202020204"/>
                </a:rPr>
                <a:t>from treatment</a:t>
              </a:r>
            </a:p>
          </p:txBody>
        </p:sp>
      </p:grpSp>
      <p:grpSp>
        <p:nvGrpSpPr>
          <p:cNvPr id="146" name="Groupe 6">
            <a:extLst>
              <a:ext uri="{FF2B5EF4-FFF2-40B4-BE49-F238E27FC236}">
                <a16:creationId xmlns:a16="http://schemas.microsoft.com/office/drawing/2014/main" id="{99453801-0C67-047F-B3D1-5DCCE8C38302}"/>
              </a:ext>
            </a:extLst>
          </p:cNvPr>
          <p:cNvGrpSpPr/>
          <p:nvPr/>
        </p:nvGrpSpPr>
        <p:grpSpPr>
          <a:xfrm>
            <a:off x="8917103" y="1243135"/>
            <a:ext cx="1816596" cy="4650850"/>
            <a:chOff x="9713729" y="1429332"/>
            <a:chExt cx="1817069" cy="4652061"/>
          </a:xfrm>
        </p:grpSpPr>
        <p:pic>
          <p:nvPicPr>
            <p:cNvPr id="147" name="Picture 146" descr="A picture containing background pattern&#10;&#10;Description automatically generated">
              <a:extLst>
                <a:ext uri="{FF2B5EF4-FFF2-40B4-BE49-F238E27FC236}">
                  <a16:creationId xmlns:a16="http://schemas.microsoft.com/office/drawing/2014/main" id="{96178EF4-2A19-D7D5-B100-6D48BBD59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13729" y="1429332"/>
              <a:ext cx="1817069" cy="4652061"/>
            </a:xfrm>
            <a:prstGeom prst="rect">
              <a:avLst/>
            </a:prstGeom>
          </p:spPr>
        </p:pic>
        <p:grpSp>
          <p:nvGrpSpPr>
            <p:cNvPr id="148" name="Groupe 5">
              <a:extLst>
                <a:ext uri="{FF2B5EF4-FFF2-40B4-BE49-F238E27FC236}">
                  <a16:creationId xmlns:a16="http://schemas.microsoft.com/office/drawing/2014/main" id="{D9A1088A-D9DE-B200-C51F-9F79330AA7E0}"/>
                </a:ext>
              </a:extLst>
            </p:cNvPr>
            <p:cNvGrpSpPr/>
            <p:nvPr/>
          </p:nvGrpSpPr>
          <p:grpSpPr>
            <a:xfrm>
              <a:off x="9750330" y="1789062"/>
              <a:ext cx="1460541" cy="2890710"/>
              <a:chOff x="9740999" y="1789062"/>
              <a:chExt cx="1460541" cy="2890710"/>
            </a:xfrm>
          </p:grpSpPr>
          <p:grpSp>
            <p:nvGrpSpPr>
              <p:cNvPr id="149" name="Groupe 3">
                <a:extLst>
                  <a:ext uri="{FF2B5EF4-FFF2-40B4-BE49-F238E27FC236}">
                    <a16:creationId xmlns:a16="http://schemas.microsoft.com/office/drawing/2014/main" id="{8A7DF5B7-6925-1D5F-7B81-CC40E2CBE978}"/>
                  </a:ext>
                </a:extLst>
              </p:cNvPr>
              <p:cNvGrpSpPr/>
              <p:nvPr/>
            </p:nvGrpSpPr>
            <p:grpSpPr>
              <a:xfrm>
                <a:off x="10043420" y="1789062"/>
                <a:ext cx="1089911" cy="966343"/>
                <a:chOff x="10043420" y="1789062"/>
                <a:chExt cx="1089911" cy="966343"/>
              </a:xfrm>
            </p:grpSpPr>
            <p:sp>
              <p:nvSpPr>
                <p:cNvPr id="154" name="Text Placeholder 33">
                  <a:extLst>
                    <a:ext uri="{FF2B5EF4-FFF2-40B4-BE49-F238E27FC236}">
                      <a16:creationId xmlns:a16="http://schemas.microsoft.com/office/drawing/2014/main" id="{B2BFBCDC-9142-04BC-82A1-8BBE0C9FF53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071700" y="1789062"/>
                  <a:ext cx="1061631" cy="281729"/>
                </a:xfrm>
                <a:prstGeom prst="rect">
                  <a:avLst/>
                </a:prstGeom>
              </p:spPr>
              <p:txBody>
                <a:bodyPr vert="horz" lIns="91416" tIns="45708" rIns="91416" bIns="45708" rtlCol="0">
                  <a:normAutofit lnSpcReduction="10000"/>
                </a:bodyPr>
                <a:lstStyle>
                  <a:lvl1pPr marL="0" indent="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  <a:defRPr sz="3600" kern="1200">
                      <a:solidFill>
                        <a:srgbClr val="1F3D87"/>
                      </a:solidFill>
                      <a:latin typeface="Montserrat SemiBold" panose="00000700000000000000" pitchFamily="50" charset="0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4126">
                    <a:defRPr/>
                  </a:pPr>
                  <a:r>
                    <a:rPr lang="en-GB" sz="1400" b="1" dirty="0">
                      <a:solidFill>
                        <a:prstClr val="white"/>
                      </a:solidFill>
                      <a:latin typeface="Arial" panose="020B0604020202020204"/>
                    </a:rPr>
                    <a:t>O&amp;E</a:t>
                  </a:r>
                  <a:r>
                    <a:rPr lang="el-GR" sz="1400" baseline="30000" dirty="0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5</a:t>
                  </a:r>
                  <a:endParaRPr lang="en-GB" sz="1400" b="1" dirty="0">
                    <a:solidFill>
                      <a:prstClr val="white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155" name="Text Placeholder 33">
                  <a:extLst>
                    <a:ext uri="{FF2B5EF4-FFF2-40B4-BE49-F238E27FC236}">
                      <a16:creationId xmlns:a16="http://schemas.microsoft.com/office/drawing/2014/main" id="{B11A27CE-5E9D-6C94-82ED-F4CEB02C7AB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043420" y="2473676"/>
                  <a:ext cx="1061631" cy="281729"/>
                </a:xfrm>
                <a:prstGeom prst="rect">
                  <a:avLst/>
                </a:prstGeom>
              </p:spPr>
              <p:txBody>
                <a:bodyPr vert="horz" lIns="91416" tIns="45708" rIns="91416" bIns="45708" rtlCol="0">
                  <a:normAutofit lnSpcReduction="10000"/>
                </a:bodyPr>
                <a:lstStyle>
                  <a:lvl1pPr marL="0" indent="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  <a:defRPr sz="3600" kern="1200">
                      <a:solidFill>
                        <a:srgbClr val="1F3D87"/>
                      </a:solidFill>
                      <a:latin typeface="Montserrat SemiBold" panose="00000700000000000000" pitchFamily="50" charset="0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4126">
                    <a:defRPr/>
                  </a:pPr>
                  <a:r>
                    <a:rPr lang="pl-PL" sz="1400" b="1" dirty="0">
                      <a:solidFill>
                        <a:srgbClr val="3D6D95"/>
                      </a:solidFill>
                      <a:latin typeface="Arial" panose="020B0604020202020204"/>
                    </a:rPr>
                    <a:t>Faza</a:t>
                  </a:r>
                  <a:r>
                    <a:rPr lang="en-GB" sz="1400" b="1" dirty="0">
                      <a:solidFill>
                        <a:srgbClr val="3D6D95"/>
                      </a:solidFill>
                      <a:latin typeface="Arial" panose="020B0604020202020204"/>
                    </a:rPr>
                    <a:t> 3</a:t>
                  </a:r>
                </a:p>
              </p:txBody>
            </p:sp>
          </p:grpSp>
          <p:grpSp>
            <p:nvGrpSpPr>
              <p:cNvPr id="150" name="Groupe 4">
                <a:extLst>
                  <a:ext uri="{FF2B5EF4-FFF2-40B4-BE49-F238E27FC236}">
                    <a16:creationId xmlns:a16="http://schemas.microsoft.com/office/drawing/2014/main" id="{E7CE5439-4C6A-B2B6-9DD1-1C6E9D9BD169}"/>
                  </a:ext>
                </a:extLst>
              </p:cNvPr>
              <p:cNvGrpSpPr/>
              <p:nvPr/>
            </p:nvGrpSpPr>
            <p:grpSpPr>
              <a:xfrm>
                <a:off x="9740999" y="2761127"/>
                <a:ext cx="1460541" cy="1918645"/>
                <a:chOff x="9740999" y="2761127"/>
                <a:chExt cx="1460541" cy="1918645"/>
              </a:xfrm>
            </p:grpSpPr>
            <p:sp>
              <p:nvSpPr>
                <p:cNvPr id="151" name="Content Placeholder 9">
                  <a:extLst>
                    <a:ext uri="{FF2B5EF4-FFF2-40B4-BE49-F238E27FC236}">
                      <a16:creationId xmlns:a16="http://schemas.microsoft.com/office/drawing/2014/main" id="{C4B9CAF8-0FA2-B541-BA7E-05F19658358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740999" y="2761127"/>
                  <a:ext cx="1460541" cy="723709"/>
                </a:xfrm>
                <a:prstGeom prst="rect">
                  <a:avLst/>
                </a:prstGeom>
              </p:spPr>
              <p:txBody>
                <a:bodyPr/>
                <a:lstStyle>
                  <a:lvl1pPr marL="284163" indent="-284163" algn="l" defTabSz="914400" rtl="0" eaLnBrk="1" latinLnBrk="0" hangingPunct="1">
                    <a:lnSpc>
                      <a:spcPct val="95000"/>
                    </a:lnSpc>
                    <a:spcBef>
                      <a:spcPts val="10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–"/>
                    <a:defRPr sz="2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41363" indent="-284163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Wingdings" panose="05000000000000000000" pitchFamily="2" charset="2"/>
                    <a:buChar char="§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Courier New" panose="02070309020205020404" pitchFamily="49" charset="0"/>
                    <a:buChar char="o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–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 defTabSz="914126">
                    <a:buClr>
                      <a:srgbClr val="AB5592"/>
                    </a:buClr>
                    <a:buNone/>
                    <a:defRPr/>
                  </a:pPr>
                  <a:r>
                    <a:rPr lang="en-US" altLang="en-US" sz="1200" dirty="0">
                      <a:solidFill>
                        <a:srgbClr val="000000"/>
                      </a:solidFill>
                      <a:latin typeface="Arial" panose="020B0604020202020204"/>
                    </a:rPr>
                    <a:t>Cross Over Treatment Burden evaluation vs Somatropin</a:t>
                  </a:r>
                </a:p>
              </p:txBody>
            </p:sp>
            <p:sp>
              <p:nvSpPr>
                <p:cNvPr id="152" name="Content Placeholder 9">
                  <a:extLst>
                    <a:ext uri="{FF2B5EF4-FFF2-40B4-BE49-F238E27FC236}">
                      <a16:creationId xmlns:a16="http://schemas.microsoft.com/office/drawing/2014/main" id="{9A879BDF-A959-3EE2-7CD9-CD3A94C89A4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746788" y="3586013"/>
                  <a:ext cx="1438311" cy="481720"/>
                </a:xfrm>
                <a:prstGeom prst="rect">
                  <a:avLst/>
                </a:prstGeom>
              </p:spPr>
              <p:txBody>
                <a:bodyPr/>
                <a:lstStyle>
                  <a:lvl1pPr marL="284163" indent="-284163" algn="l" defTabSz="914400" rtl="0" eaLnBrk="1" latinLnBrk="0" hangingPunct="1">
                    <a:lnSpc>
                      <a:spcPct val="95000"/>
                    </a:lnSpc>
                    <a:spcBef>
                      <a:spcPts val="10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–"/>
                    <a:defRPr sz="2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41363" indent="-284163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Wingdings" panose="05000000000000000000" pitchFamily="2" charset="2"/>
                    <a:buChar char="§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Courier New" panose="02070309020205020404" pitchFamily="49" charset="0"/>
                    <a:buChar char="o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–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 defTabSz="914126">
                    <a:buClr>
                      <a:srgbClr val="AB5592"/>
                    </a:buClr>
                    <a:buNone/>
                    <a:defRPr/>
                  </a:pPr>
                  <a:r>
                    <a:rPr lang="en-US" altLang="en-US" sz="1200" b="1" dirty="0">
                      <a:solidFill>
                        <a:srgbClr val="3D6D95"/>
                      </a:solidFill>
                      <a:latin typeface="Arial" panose="020B0604020202020204"/>
                    </a:rPr>
                    <a:t>87</a:t>
                  </a:r>
                  <a:r>
                    <a:rPr lang="en-US" altLang="en-US" sz="1200" dirty="0">
                      <a:solidFill>
                        <a:srgbClr val="434343"/>
                      </a:solidFill>
                      <a:latin typeface="Arial" panose="020B0604020202020204"/>
                    </a:rPr>
                    <a:t> </a:t>
                  </a:r>
                  <a:r>
                    <a:rPr lang="en-US" altLang="en-US" sz="1200" dirty="0">
                      <a:solidFill>
                        <a:srgbClr val="000000"/>
                      </a:solidFill>
                      <a:latin typeface="Arial" panose="020B0604020202020204"/>
                    </a:rPr>
                    <a:t>GHD patients</a:t>
                  </a:r>
                  <a:br>
                    <a:rPr lang="en-US" altLang="en-US" sz="1200" dirty="0">
                      <a:solidFill>
                        <a:srgbClr val="434343"/>
                      </a:solidFill>
                      <a:latin typeface="Arial" panose="020B0604020202020204"/>
                    </a:rPr>
                  </a:br>
                  <a:r>
                    <a:rPr lang="en-US" altLang="en-US" sz="1200" b="1" dirty="0">
                      <a:solidFill>
                        <a:srgbClr val="3D6D95"/>
                      </a:solidFill>
                      <a:latin typeface="Arial" panose="020B0604020202020204"/>
                    </a:rPr>
                    <a:t>6</a:t>
                  </a:r>
                  <a:r>
                    <a:rPr lang="en-US" altLang="en-US" sz="1200" dirty="0">
                      <a:solidFill>
                        <a:srgbClr val="434343"/>
                      </a:solidFill>
                      <a:latin typeface="Arial" panose="020B0604020202020204"/>
                    </a:rPr>
                    <a:t> </a:t>
                  </a:r>
                  <a:r>
                    <a:rPr lang="en-US" altLang="en-US" sz="1200" dirty="0">
                      <a:solidFill>
                        <a:srgbClr val="000000"/>
                      </a:solidFill>
                      <a:latin typeface="Arial" panose="020B0604020202020204"/>
                    </a:rPr>
                    <a:t>months</a:t>
                  </a:r>
                </a:p>
              </p:txBody>
            </p:sp>
            <p:sp>
              <p:nvSpPr>
                <p:cNvPr id="153" name="Content Placeholder 9">
                  <a:extLst>
                    <a:ext uri="{FF2B5EF4-FFF2-40B4-BE49-F238E27FC236}">
                      <a16:creationId xmlns:a16="http://schemas.microsoft.com/office/drawing/2014/main" id="{4A357BDC-F27D-33AB-94C5-A29EE6AEF54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829246" y="4198052"/>
                  <a:ext cx="1273396" cy="481720"/>
                </a:xfrm>
                <a:prstGeom prst="rect">
                  <a:avLst/>
                </a:prstGeom>
              </p:spPr>
              <p:txBody>
                <a:bodyPr/>
                <a:lstStyle>
                  <a:lvl1pPr marL="284163" indent="-284163" algn="l" defTabSz="914400" rtl="0" eaLnBrk="1" latinLnBrk="0" hangingPunct="1">
                    <a:lnSpc>
                      <a:spcPct val="95000"/>
                    </a:lnSpc>
                    <a:spcBef>
                      <a:spcPts val="10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–"/>
                    <a:defRPr sz="2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41363" indent="-284163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Wingdings" panose="05000000000000000000" pitchFamily="2" charset="2"/>
                    <a:buChar char="§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Courier New" panose="02070309020205020404" pitchFamily="49" charset="0"/>
                    <a:buChar char="o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5000"/>
                    </a:lnSpc>
                    <a:spcBef>
                      <a:spcPts val="500"/>
                    </a:spcBef>
                    <a:buClr>
                      <a:schemeClr val="tx2"/>
                    </a:buClr>
                    <a:buFont typeface="Arial" panose="020B0604020202020204" pitchFamily="34" charset="0"/>
                    <a:buChar char="–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 defTabSz="914126">
                    <a:buClr>
                      <a:srgbClr val="AB5592"/>
                    </a:buClr>
                    <a:buNone/>
                    <a:defRPr/>
                  </a:pPr>
                  <a:r>
                    <a:rPr lang="en-US" altLang="en-US" sz="1200" b="1" dirty="0">
                      <a:solidFill>
                        <a:srgbClr val="3D6D95"/>
                      </a:solidFill>
                      <a:latin typeface="Arial" panose="020B0604020202020204"/>
                    </a:rPr>
                    <a:t>NON Naïve </a:t>
                  </a:r>
                  <a:r>
                    <a:rPr lang="en-US" altLang="en-US" sz="1200" dirty="0">
                      <a:solidFill>
                        <a:srgbClr val="3D6D95"/>
                      </a:solidFill>
                      <a:latin typeface="Arial" panose="020B0604020202020204"/>
                    </a:rPr>
                    <a:t>from treatment</a:t>
                  </a:r>
                </a:p>
              </p:txBody>
            </p:sp>
          </p:grpSp>
        </p:grpSp>
      </p:grpSp>
      <p:sp>
        <p:nvSpPr>
          <p:cNvPr id="156" name="Text Placeholder 33">
            <a:hlinkClick r:id="" action="ppaction://noaction"/>
            <a:extLst>
              <a:ext uri="{FF2B5EF4-FFF2-40B4-BE49-F238E27FC236}">
                <a16:creationId xmlns:a16="http://schemas.microsoft.com/office/drawing/2014/main" id="{11586BF3-6C78-E922-A5D4-375DB617ECB6}"/>
              </a:ext>
            </a:extLst>
          </p:cNvPr>
          <p:cNvSpPr txBox="1">
            <a:spLocks/>
          </p:cNvSpPr>
          <p:nvPr/>
        </p:nvSpPr>
        <p:spPr>
          <a:xfrm>
            <a:off x="564382" y="4879871"/>
            <a:ext cx="1061355" cy="281656"/>
          </a:xfrm>
          <a:prstGeom prst="rect">
            <a:avLst/>
          </a:prstGeom>
        </p:spPr>
        <p:txBody>
          <a:bodyPr vert="horz" lIns="91416" tIns="45708" rIns="91416" bIns="45708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kern="1200">
                <a:solidFill>
                  <a:srgbClr val="1F3D87"/>
                </a:solidFill>
                <a:latin typeface="Montserrat SemiBold" panose="000007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>
              <a:defRPr/>
            </a:pPr>
            <a:r>
              <a:rPr lang="en-GB" sz="1200" b="1" dirty="0">
                <a:solidFill>
                  <a:prstClr val="white"/>
                </a:solidFill>
              </a:rPr>
              <a:t>CP-4-009</a:t>
            </a:r>
          </a:p>
        </p:txBody>
      </p:sp>
      <p:sp>
        <p:nvSpPr>
          <p:cNvPr id="157" name="Content Placeholder 9">
            <a:extLst>
              <a:ext uri="{FF2B5EF4-FFF2-40B4-BE49-F238E27FC236}">
                <a16:creationId xmlns:a16="http://schemas.microsoft.com/office/drawing/2014/main" id="{7E1CBAA9-9F0E-3328-81E4-97C00E4615DB}"/>
              </a:ext>
            </a:extLst>
          </p:cNvPr>
          <p:cNvSpPr txBox="1">
            <a:spLocks/>
          </p:cNvSpPr>
          <p:nvPr/>
        </p:nvSpPr>
        <p:spPr>
          <a:xfrm>
            <a:off x="1882435" y="4746555"/>
            <a:ext cx="1370892" cy="481595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126">
              <a:buClr>
                <a:srgbClr val="AB5592"/>
              </a:buClr>
              <a:buNone/>
              <a:defRPr/>
            </a:pPr>
            <a:r>
              <a:rPr lang="en-US" altLang="en-US" sz="1200" b="1" dirty="0">
                <a:solidFill>
                  <a:srgbClr val="6E7DC8"/>
                </a:solidFill>
                <a:latin typeface="Arial" panose="020B0604020202020204"/>
              </a:rPr>
              <a:t>48</a:t>
            </a:r>
            <a:r>
              <a:rPr lang="en-US" altLang="en-US" sz="1200" dirty="0">
                <a:solidFill>
                  <a:srgbClr val="434343"/>
                </a:solidFill>
                <a:latin typeface="Arial" panose="020B0604020202020204"/>
              </a:rPr>
              <a:t> GHD patients</a:t>
            </a:r>
            <a:br>
              <a:rPr lang="en-US" altLang="en-US" sz="1200" dirty="0">
                <a:solidFill>
                  <a:srgbClr val="434343"/>
                </a:solidFill>
                <a:latin typeface="Arial" panose="020B0604020202020204"/>
              </a:rPr>
            </a:br>
            <a:r>
              <a:rPr lang="pl-PL" altLang="en-US" sz="1200" b="1" dirty="0">
                <a:solidFill>
                  <a:srgbClr val="6E7DC8"/>
                </a:solidFill>
                <a:latin typeface="Arial" panose="020B0604020202020204"/>
              </a:rPr>
              <a:t>8</a:t>
            </a:r>
            <a:r>
              <a:rPr lang="en-US" altLang="en-US" sz="1200" b="1" dirty="0">
                <a:solidFill>
                  <a:srgbClr val="6E7DC8"/>
                </a:solidFill>
                <a:latin typeface="Arial" panose="020B0604020202020204"/>
              </a:rPr>
              <a:t> </a:t>
            </a:r>
            <a:r>
              <a:rPr lang="en-US" altLang="en-US" sz="1200" dirty="0">
                <a:solidFill>
                  <a:srgbClr val="434343"/>
                </a:solidFill>
                <a:latin typeface="Arial" panose="020B0604020202020204"/>
              </a:rPr>
              <a:t>years</a:t>
            </a:r>
          </a:p>
        </p:txBody>
      </p:sp>
      <p:grpSp>
        <p:nvGrpSpPr>
          <p:cNvPr id="158" name="Groupe 8">
            <a:extLst>
              <a:ext uri="{FF2B5EF4-FFF2-40B4-BE49-F238E27FC236}">
                <a16:creationId xmlns:a16="http://schemas.microsoft.com/office/drawing/2014/main" id="{B4684DF1-F5D3-E601-BB74-5F7C3294868E}"/>
              </a:ext>
            </a:extLst>
          </p:cNvPr>
          <p:cNvGrpSpPr/>
          <p:nvPr/>
        </p:nvGrpSpPr>
        <p:grpSpPr>
          <a:xfrm>
            <a:off x="1758053" y="3221280"/>
            <a:ext cx="1735737" cy="3080455"/>
            <a:chOff x="2083568" y="3549796"/>
            <a:chExt cx="1736189" cy="3081257"/>
          </a:xfrm>
        </p:grpSpPr>
        <p:pic>
          <p:nvPicPr>
            <p:cNvPr id="159" name="Picture 45" descr="A picture containing background pattern&#10;&#10;Description automatically generated">
              <a:extLst>
                <a:ext uri="{FF2B5EF4-FFF2-40B4-BE49-F238E27FC236}">
                  <a16:creationId xmlns:a16="http://schemas.microsoft.com/office/drawing/2014/main" id="{FA856C43-D4A0-5055-25E9-BEB841B87F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83568" y="3549796"/>
              <a:ext cx="1736189" cy="3081257"/>
            </a:xfrm>
            <a:prstGeom prst="rect">
              <a:avLst/>
            </a:prstGeom>
          </p:spPr>
        </p:pic>
        <p:sp>
          <p:nvSpPr>
            <p:cNvPr id="160" name="Text Placeholder 33">
              <a:extLst>
                <a:ext uri="{FF2B5EF4-FFF2-40B4-BE49-F238E27FC236}">
                  <a16:creationId xmlns:a16="http://schemas.microsoft.com/office/drawing/2014/main" id="{1E94E96C-CD1F-3000-D2CF-BF48197D17FF}"/>
                </a:ext>
              </a:extLst>
            </p:cNvPr>
            <p:cNvSpPr txBox="1">
              <a:spLocks/>
            </p:cNvSpPr>
            <p:nvPr/>
          </p:nvSpPr>
          <p:spPr>
            <a:xfrm>
              <a:off x="2244646" y="3728785"/>
              <a:ext cx="1136267" cy="294621"/>
            </a:xfrm>
            <a:prstGeom prst="rect">
              <a:avLst/>
            </a:prstGeom>
          </p:spPr>
          <p:txBody>
            <a:bodyPr vert="horz" lIns="91416" tIns="45708" rIns="91416" bIns="45708" rtlCol="0">
              <a:normAutofit fontScale="92500"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100" b="1" dirty="0">
                  <a:solidFill>
                    <a:prstClr val="white"/>
                  </a:solidFill>
                  <a:latin typeface="Arial" panose="020B0604020202020204"/>
                </a:rPr>
                <a:t>CP-4-004-OLE</a:t>
              </a:r>
              <a:r>
                <a:rPr lang="en-US" sz="1100" baseline="30000" dirty="0">
                  <a:solidFill>
                    <a:srgbClr val="FFFFFF"/>
                  </a:solidFill>
                  <a:latin typeface="Arial" panose="020B0604020202020204"/>
                </a:rPr>
                <a:t> </a:t>
              </a:r>
              <a:r>
                <a:rPr lang="el-GR" sz="1100" baseline="30000" dirty="0">
                  <a:solidFill>
                    <a:srgbClr val="FFFFFF"/>
                  </a:solidFill>
                  <a:latin typeface="Arial" panose="020B0604020202020204"/>
                </a:rPr>
                <a:t>2</a:t>
              </a:r>
              <a:endParaRPr lang="en-GB" sz="1100" b="1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161" name="Text Placeholder 33">
              <a:extLst>
                <a:ext uri="{FF2B5EF4-FFF2-40B4-BE49-F238E27FC236}">
                  <a16:creationId xmlns:a16="http://schemas.microsoft.com/office/drawing/2014/main" id="{313FB83A-ACD5-3AA3-70F9-9AD16ACFE703}"/>
                </a:ext>
              </a:extLst>
            </p:cNvPr>
            <p:cNvSpPr txBox="1">
              <a:spLocks/>
            </p:cNvSpPr>
            <p:nvPr/>
          </p:nvSpPr>
          <p:spPr>
            <a:xfrm>
              <a:off x="2093335" y="4279853"/>
              <a:ext cx="1476355" cy="281729"/>
            </a:xfrm>
            <a:prstGeom prst="rect">
              <a:avLst/>
            </a:prstGeom>
          </p:spPr>
          <p:txBody>
            <a:bodyPr vert="horz" lIns="91416" tIns="45708" rIns="91416" bIns="45708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200" b="1" dirty="0">
                  <a:solidFill>
                    <a:srgbClr val="6E7DC8"/>
                  </a:solidFill>
                  <a:latin typeface="Arial" panose="020B0604020202020204"/>
                </a:rPr>
                <a:t>Extension Study</a:t>
              </a:r>
            </a:p>
          </p:txBody>
        </p:sp>
        <p:sp>
          <p:nvSpPr>
            <p:cNvPr id="162" name="Content Placeholder 9">
              <a:extLst>
                <a:ext uri="{FF2B5EF4-FFF2-40B4-BE49-F238E27FC236}">
                  <a16:creationId xmlns:a16="http://schemas.microsoft.com/office/drawing/2014/main" id="{654A49DB-90F4-548D-F311-6E0EC4BAE82B}"/>
                </a:ext>
              </a:extLst>
            </p:cNvPr>
            <p:cNvSpPr txBox="1">
              <a:spLocks/>
            </p:cNvSpPr>
            <p:nvPr/>
          </p:nvSpPr>
          <p:spPr>
            <a:xfrm>
              <a:off x="2152646" y="4588198"/>
              <a:ext cx="1371768" cy="723709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pl-PL" altLang="en-US" sz="1200" dirty="0">
                  <a:solidFill>
                    <a:srgbClr val="000000"/>
                  </a:solidFill>
                  <a:latin typeface="Arial" panose="020B0604020202020204"/>
                </a:rPr>
                <a:t>Bezpieczeństwo &amp; Skuteczność</a:t>
              </a:r>
              <a:endParaRPr lang="en-US" altLang="en-US" sz="12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3" name="Content Placeholder 9">
              <a:extLst>
                <a:ext uri="{FF2B5EF4-FFF2-40B4-BE49-F238E27FC236}">
                  <a16:creationId xmlns:a16="http://schemas.microsoft.com/office/drawing/2014/main" id="{9D3DBFBA-A5C7-7082-09BD-2AD7FD128BD8}"/>
                </a:ext>
              </a:extLst>
            </p:cNvPr>
            <p:cNvSpPr txBox="1">
              <a:spLocks/>
            </p:cNvSpPr>
            <p:nvPr/>
          </p:nvSpPr>
          <p:spPr>
            <a:xfrm>
              <a:off x="2198427" y="5658149"/>
              <a:ext cx="1273396" cy="481720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6E7DC8"/>
                  </a:solidFill>
                  <a:latin typeface="Arial" panose="020B0604020202020204"/>
                </a:rPr>
                <a:t>Non-Naïve </a:t>
              </a:r>
              <a:r>
                <a:rPr lang="en-US" altLang="en-US" sz="1200" dirty="0">
                  <a:solidFill>
                    <a:srgbClr val="6E7DC8"/>
                  </a:solidFill>
                  <a:latin typeface="Arial" panose="020B0604020202020204"/>
                </a:rPr>
                <a:t>from treatment</a:t>
              </a:r>
            </a:p>
          </p:txBody>
        </p:sp>
      </p:grpSp>
      <p:sp>
        <p:nvSpPr>
          <p:cNvPr id="164" name="Content Placeholder 9">
            <a:extLst>
              <a:ext uri="{FF2B5EF4-FFF2-40B4-BE49-F238E27FC236}">
                <a16:creationId xmlns:a16="http://schemas.microsoft.com/office/drawing/2014/main" id="{386CEDE5-6CF9-DBD5-4502-EB48BCD7C065}"/>
              </a:ext>
            </a:extLst>
          </p:cNvPr>
          <p:cNvSpPr txBox="1">
            <a:spLocks/>
          </p:cNvSpPr>
          <p:nvPr/>
        </p:nvSpPr>
        <p:spPr>
          <a:xfrm>
            <a:off x="1834941" y="5920900"/>
            <a:ext cx="1273064" cy="481595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AB5592"/>
              </a:buClr>
              <a:buNone/>
              <a:defRPr/>
            </a:pPr>
            <a:r>
              <a:rPr lang="en-US" altLang="en-US" sz="1200" b="1" dirty="0">
                <a:solidFill>
                  <a:srgbClr val="6E7DC8"/>
                </a:solidFill>
              </a:rPr>
              <a:t>ON</a:t>
            </a:r>
            <a:r>
              <a:rPr lang="pl-PL" altLang="en-US" sz="1200" b="1" dirty="0">
                <a:solidFill>
                  <a:srgbClr val="6E7DC8"/>
                </a:solidFill>
              </a:rPr>
              <a:t> </a:t>
            </a:r>
            <a:r>
              <a:rPr lang="en-US" altLang="en-US" sz="1200" b="1" dirty="0">
                <a:solidFill>
                  <a:srgbClr val="6E7DC8"/>
                </a:solidFill>
              </a:rPr>
              <a:t>GOING</a:t>
            </a:r>
            <a:endParaRPr lang="en-US" altLang="en-US" sz="1200" b="1" dirty="0">
              <a:solidFill>
                <a:srgbClr val="6E7DC8"/>
              </a:solidFill>
              <a:latin typeface="Arial" panose="020B0604020202020204"/>
            </a:endParaRPr>
          </a:p>
        </p:txBody>
      </p:sp>
      <p:sp>
        <p:nvSpPr>
          <p:cNvPr id="165" name="Content Placeholder 9">
            <a:extLst>
              <a:ext uri="{FF2B5EF4-FFF2-40B4-BE49-F238E27FC236}">
                <a16:creationId xmlns:a16="http://schemas.microsoft.com/office/drawing/2014/main" id="{06DE9C1F-E0A6-F59D-2ED5-F4F992084290}"/>
              </a:ext>
            </a:extLst>
          </p:cNvPr>
          <p:cNvSpPr txBox="1">
            <a:spLocks/>
          </p:cNvSpPr>
          <p:nvPr/>
        </p:nvSpPr>
        <p:spPr>
          <a:xfrm>
            <a:off x="259871" y="5918692"/>
            <a:ext cx="1542079" cy="360309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AB5592"/>
              </a:buClr>
              <a:buNone/>
              <a:defRPr/>
            </a:pPr>
            <a:r>
              <a:rPr lang="en-US" altLang="en-US" sz="1200" b="1" i="1" dirty="0">
                <a:solidFill>
                  <a:srgbClr val="7684C9"/>
                </a:solidFill>
              </a:rPr>
              <a:t>COMPLETED</a:t>
            </a:r>
            <a:endParaRPr lang="en-US" altLang="en-US" sz="1200" b="1" i="1" dirty="0">
              <a:solidFill>
                <a:srgbClr val="7684C9"/>
              </a:solidFill>
              <a:latin typeface="Arial" panose="020B0604020202020204"/>
            </a:endParaRPr>
          </a:p>
        </p:txBody>
      </p:sp>
      <p:grpSp>
        <p:nvGrpSpPr>
          <p:cNvPr id="166" name="Groupe 7">
            <a:extLst>
              <a:ext uri="{FF2B5EF4-FFF2-40B4-BE49-F238E27FC236}">
                <a16:creationId xmlns:a16="http://schemas.microsoft.com/office/drawing/2014/main" id="{86850898-6FFB-CD71-8524-9BE947293169}"/>
              </a:ext>
            </a:extLst>
          </p:cNvPr>
          <p:cNvGrpSpPr/>
          <p:nvPr/>
        </p:nvGrpSpPr>
        <p:grpSpPr>
          <a:xfrm>
            <a:off x="4881621" y="3243623"/>
            <a:ext cx="1735737" cy="3097233"/>
            <a:chOff x="5502285" y="3464389"/>
            <a:chExt cx="1736189" cy="3098040"/>
          </a:xfrm>
        </p:grpSpPr>
        <p:pic>
          <p:nvPicPr>
            <p:cNvPr id="167" name="Picture 47" descr="A picture containing background pattern&#10;&#10;Description automatically generated">
              <a:extLst>
                <a:ext uri="{FF2B5EF4-FFF2-40B4-BE49-F238E27FC236}">
                  <a16:creationId xmlns:a16="http://schemas.microsoft.com/office/drawing/2014/main" id="{683484D8-E378-DB7B-1F17-D96CB9C36B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02285" y="3464389"/>
              <a:ext cx="1736189" cy="3098040"/>
            </a:xfrm>
            <a:prstGeom prst="rect">
              <a:avLst/>
            </a:prstGeom>
          </p:spPr>
        </p:pic>
        <p:sp>
          <p:nvSpPr>
            <p:cNvPr id="168" name="Text Placeholder 33">
              <a:extLst>
                <a:ext uri="{FF2B5EF4-FFF2-40B4-BE49-F238E27FC236}">
                  <a16:creationId xmlns:a16="http://schemas.microsoft.com/office/drawing/2014/main" id="{EF217E4F-B89B-DB7C-8B45-9177C97D1F66}"/>
                </a:ext>
              </a:extLst>
            </p:cNvPr>
            <p:cNvSpPr txBox="1">
              <a:spLocks/>
            </p:cNvSpPr>
            <p:nvPr/>
          </p:nvSpPr>
          <p:spPr>
            <a:xfrm>
              <a:off x="5674714" y="3683780"/>
              <a:ext cx="1225958" cy="224847"/>
            </a:xfrm>
            <a:prstGeom prst="rect">
              <a:avLst/>
            </a:prstGeom>
          </p:spPr>
          <p:txBody>
            <a:bodyPr vert="horz" lIns="91416" tIns="45708" rIns="91416" bIns="45708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000" b="1" dirty="0">
                  <a:solidFill>
                    <a:prstClr val="white"/>
                  </a:solidFill>
                  <a:latin typeface="Arial" panose="020B0604020202020204"/>
                </a:rPr>
                <a:t>CP-4-006- OLE</a:t>
              </a:r>
              <a:r>
                <a:rPr lang="el-GR" sz="1000" baseline="30000" dirty="0">
                  <a:solidFill>
                    <a:srgbClr val="FFFFFF"/>
                  </a:solidFill>
                  <a:latin typeface="Arial" panose="020B0604020202020204"/>
                </a:rPr>
                <a:t> 3</a:t>
              </a:r>
              <a:endParaRPr lang="en-GB" sz="1000" b="1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169" name="Text Placeholder 33">
              <a:extLst>
                <a:ext uri="{FF2B5EF4-FFF2-40B4-BE49-F238E27FC236}">
                  <a16:creationId xmlns:a16="http://schemas.microsoft.com/office/drawing/2014/main" id="{68132A9F-946F-B956-7D35-D2A5B62E6B4B}"/>
                </a:ext>
              </a:extLst>
            </p:cNvPr>
            <p:cNvSpPr txBox="1">
              <a:spLocks/>
            </p:cNvSpPr>
            <p:nvPr/>
          </p:nvSpPr>
          <p:spPr>
            <a:xfrm>
              <a:off x="5561248" y="4337774"/>
              <a:ext cx="1406805" cy="271188"/>
            </a:xfrm>
            <a:prstGeom prst="rect">
              <a:avLst/>
            </a:prstGeom>
          </p:spPr>
          <p:txBody>
            <a:bodyPr vert="horz" lIns="91416" tIns="45708" rIns="91416" bIns="45708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rgbClr val="1F3D87"/>
                  </a:solidFill>
                  <a:latin typeface="Montserrat SemiBold" panose="00000700000000000000" pitchFamily="50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26">
                <a:defRPr/>
              </a:pPr>
              <a:r>
                <a:rPr lang="en-GB" sz="1200" b="1" dirty="0">
                  <a:solidFill>
                    <a:srgbClr val="813F6E"/>
                  </a:solidFill>
                  <a:latin typeface="Arial" panose="020B0604020202020204"/>
                </a:rPr>
                <a:t>Extension Study</a:t>
              </a:r>
            </a:p>
          </p:txBody>
        </p:sp>
        <p:sp>
          <p:nvSpPr>
            <p:cNvPr id="170" name="Content Placeholder 9">
              <a:extLst>
                <a:ext uri="{FF2B5EF4-FFF2-40B4-BE49-F238E27FC236}">
                  <a16:creationId xmlns:a16="http://schemas.microsoft.com/office/drawing/2014/main" id="{6911FA59-C65E-04B6-5F86-5CBABB5F2752}"/>
                </a:ext>
              </a:extLst>
            </p:cNvPr>
            <p:cNvSpPr txBox="1">
              <a:spLocks/>
            </p:cNvSpPr>
            <p:nvPr/>
          </p:nvSpPr>
          <p:spPr>
            <a:xfrm>
              <a:off x="5604297" y="4567139"/>
              <a:ext cx="1343487" cy="298087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pl-PL" altLang="en-US" sz="1200" dirty="0">
                  <a:solidFill>
                    <a:srgbClr val="000000"/>
                  </a:solidFill>
                  <a:latin typeface="Arial" panose="020B0604020202020204"/>
                </a:rPr>
                <a:t>Bezpieczeństwo &amp; Skuteczność</a:t>
              </a:r>
              <a:endParaRPr lang="en-US" altLang="en-US" sz="12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71" name="Content Placeholder 9">
              <a:extLst>
                <a:ext uri="{FF2B5EF4-FFF2-40B4-BE49-F238E27FC236}">
                  <a16:creationId xmlns:a16="http://schemas.microsoft.com/office/drawing/2014/main" id="{BE70B3D5-4F36-B9C8-8B6F-C98F1008333D}"/>
                </a:ext>
              </a:extLst>
            </p:cNvPr>
            <p:cNvSpPr txBox="1">
              <a:spLocks/>
            </p:cNvSpPr>
            <p:nvPr/>
          </p:nvSpPr>
          <p:spPr>
            <a:xfrm>
              <a:off x="5518647" y="4982669"/>
              <a:ext cx="1374290" cy="339094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813F6E"/>
                  </a:solidFill>
                  <a:latin typeface="Arial" panose="020B0604020202020204"/>
                </a:rPr>
                <a:t>212</a:t>
              </a:r>
              <a: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  <a:latin typeface="Arial" panose="020B0604020202020204"/>
                </a:rPr>
                <a:t>GHD patients</a:t>
              </a:r>
              <a:br>
                <a:rPr lang="en-US" altLang="en-US" sz="1200" dirty="0">
                  <a:solidFill>
                    <a:srgbClr val="434343"/>
                  </a:solidFill>
                  <a:latin typeface="Arial" panose="020B0604020202020204"/>
                </a:rPr>
              </a:br>
              <a:endParaRPr lang="en-US" altLang="en-US" sz="1200" dirty="0">
                <a:solidFill>
                  <a:srgbClr val="434343"/>
                </a:solidFill>
                <a:latin typeface="Arial" panose="020B0604020202020204"/>
              </a:endParaRPr>
            </a:p>
          </p:txBody>
        </p:sp>
        <p:sp>
          <p:nvSpPr>
            <p:cNvPr id="172" name="Content Placeholder 9">
              <a:extLst>
                <a:ext uri="{FF2B5EF4-FFF2-40B4-BE49-F238E27FC236}">
                  <a16:creationId xmlns:a16="http://schemas.microsoft.com/office/drawing/2014/main" id="{D5EB4E66-A649-0AFE-B32E-6488D30C9520}"/>
                </a:ext>
              </a:extLst>
            </p:cNvPr>
            <p:cNvSpPr txBox="1">
              <a:spLocks/>
            </p:cNvSpPr>
            <p:nvPr/>
          </p:nvSpPr>
          <p:spPr>
            <a:xfrm>
              <a:off x="5596283" y="5439207"/>
              <a:ext cx="1278874" cy="339094"/>
            </a:xfrm>
            <a:prstGeom prst="rect">
              <a:avLst/>
            </a:prstGeom>
          </p:spPr>
          <p:txBody>
            <a:bodyPr/>
            <a:lstStyle>
              <a:lvl1pPr marL="284163" indent="-284163" algn="l" defTabSz="914400" rtl="0" eaLnBrk="1" latinLnBrk="0" hangingPunct="1">
                <a:lnSpc>
                  <a:spcPct val="95000"/>
                </a:lnSpc>
                <a:spcBef>
                  <a:spcPts val="10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1363" indent="-284163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Courier New" panose="02070309020205020404" pitchFamily="49" charset="0"/>
                <a:buChar char="o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26">
                <a:buClr>
                  <a:srgbClr val="AB5592"/>
                </a:buClr>
                <a:buNone/>
                <a:defRPr/>
              </a:pPr>
              <a:r>
                <a:rPr lang="en-US" altLang="en-US" sz="1200" b="1" dirty="0">
                  <a:solidFill>
                    <a:srgbClr val="813F6E"/>
                  </a:solidFill>
                  <a:latin typeface="Arial" panose="020B0604020202020204"/>
                </a:rPr>
                <a:t>Non-Naïve </a:t>
              </a:r>
              <a:r>
                <a:rPr lang="en-US" altLang="en-US" sz="1200" dirty="0">
                  <a:solidFill>
                    <a:srgbClr val="813F6E"/>
                  </a:solidFill>
                  <a:latin typeface="Arial" panose="020B0604020202020204"/>
                </a:rPr>
                <a:t>from treatment</a:t>
              </a:r>
            </a:p>
          </p:txBody>
        </p:sp>
      </p:grpSp>
      <p:sp>
        <p:nvSpPr>
          <p:cNvPr id="173" name="Content Placeholder 9">
            <a:extLst>
              <a:ext uri="{FF2B5EF4-FFF2-40B4-BE49-F238E27FC236}">
                <a16:creationId xmlns:a16="http://schemas.microsoft.com/office/drawing/2014/main" id="{5F7EB276-92AD-EA98-77CC-75DD84C3B58D}"/>
              </a:ext>
            </a:extLst>
          </p:cNvPr>
          <p:cNvSpPr txBox="1">
            <a:spLocks/>
          </p:cNvSpPr>
          <p:nvPr/>
        </p:nvSpPr>
        <p:spPr>
          <a:xfrm>
            <a:off x="4968341" y="5925119"/>
            <a:ext cx="1273064" cy="481595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AB5592"/>
              </a:buClr>
              <a:buNone/>
              <a:defRPr/>
            </a:pPr>
            <a:r>
              <a:rPr lang="en-US" altLang="en-US" sz="1200" b="1" dirty="0">
                <a:solidFill>
                  <a:srgbClr val="AB5592">
                    <a:lumMod val="75000"/>
                  </a:srgbClr>
                </a:solidFill>
              </a:rPr>
              <a:t>ON</a:t>
            </a:r>
            <a:r>
              <a:rPr lang="pl-PL" altLang="en-US" sz="1200" b="1" dirty="0">
                <a:solidFill>
                  <a:srgbClr val="AB5592">
                    <a:lumMod val="75000"/>
                  </a:srgbClr>
                </a:solidFill>
              </a:rPr>
              <a:t> </a:t>
            </a:r>
            <a:r>
              <a:rPr lang="en-US" altLang="en-US" sz="1200" b="1" dirty="0">
                <a:solidFill>
                  <a:srgbClr val="AB5592">
                    <a:lumMod val="75000"/>
                  </a:srgbClr>
                </a:solidFill>
              </a:rPr>
              <a:t>GOING</a:t>
            </a:r>
            <a:endParaRPr lang="en-US" altLang="en-US" sz="1200" b="1" dirty="0">
              <a:solidFill>
                <a:srgbClr val="AB5592">
                  <a:lumMod val="75000"/>
                </a:srgbClr>
              </a:solidFill>
              <a:latin typeface="Arial" panose="020B0604020202020204"/>
            </a:endParaRPr>
          </a:p>
        </p:txBody>
      </p:sp>
      <p:sp>
        <p:nvSpPr>
          <p:cNvPr id="174" name="Content Placeholder 9">
            <a:extLst>
              <a:ext uri="{FF2B5EF4-FFF2-40B4-BE49-F238E27FC236}">
                <a16:creationId xmlns:a16="http://schemas.microsoft.com/office/drawing/2014/main" id="{0200D33B-9206-0B7C-25D0-CCF08F526BB6}"/>
              </a:ext>
            </a:extLst>
          </p:cNvPr>
          <p:cNvSpPr txBox="1">
            <a:spLocks/>
          </p:cNvSpPr>
          <p:nvPr/>
        </p:nvSpPr>
        <p:spPr>
          <a:xfrm>
            <a:off x="3396254" y="5917967"/>
            <a:ext cx="1510583" cy="481595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AB5592"/>
              </a:buClr>
              <a:buNone/>
              <a:defRPr/>
            </a:pPr>
            <a:r>
              <a:rPr lang="en-US" altLang="en-US" sz="1200" b="1" i="1" dirty="0">
                <a:solidFill>
                  <a:srgbClr val="8E537E"/>
                </a:solidFill>
              </a:rPr>
              <a:t>COMPLETED</a:t>
            </a:r>
            <a:endParaRPr lang="en-US" altLang="en-US" sz="1200" b="1" i="1" dirty="0">
              <a:solidFill>
                <a:srgbClr val="8E537E"/>
              </a:solidFill>
              <a:latin typeface="Arial" panose="020B0604020202020204"/>
            </a:endParaRPr>
          </a:p>
        </p:txBody>
      </p:sp>
      <p:sp>
        <p:nvSpPr>
          <p:cNvPr id="175" name="Content Placeholder 9">
            <a:extLst>
              <a:ext uri="{FF2B5EF4-FFF2-40B4-BE49-F238E27FC236}">
                <a16:creationId xmlns:a16="http://schemas.microsoft.com/office/drawing/2014/main" id="{8086F835-06F3-AFEA-10BF-BA71447C6720}"/>
              </a:ext>
            </a:extLst>
          </p:cNvPr>
          <p:cNvSpPr txBox="1">
            <a:spLocks/>
          </p:cNvSpPr>
          <p:nvPr/>
        </p:nvSpPr>
        <p:spPr>
          <a:xfrm>
            <a:off x="6679141" y="5918074"/>
            <a:ext cx="1573828" cy="481595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AB5592"/>
              </a:buClr>
              <a:buNone/>
              <a:defRPr/>
            </a:pPr>
            <a:r>
              <a:rPr lang="en-US" altLang="en-US" sz="1200" b="1" i="1" dirty="0">
                <a:solidFill>
                  <a:srgbClr val="51926E"/>
                </a:solidFill>
              </a:rPr>
              <a:t>COMPLETED</a:t>
            </a:r>
            <a:endParaRPr lang="en-US" altLang="en-US" sz="1200" b="1" i="1" dirty="0">
              <a:solidFill>
                <a:srgbClr val="51926E"/>
              </a:solidFill>
              <a:latin typeface="Arial" panose="020B0604020202020204"/>
            </a:endParaRPr>
          </a:p>
        </p:txBody>
      </p:sp>
      <p:sp>
        <p:nvSpPr>
          <p:cNvPr id="176" name="Content Placeholder 9">
            <a:extLst>
              <a:ext uri="{FF2B5EF4-FFF2-40B4-BE49-F238E27FC236}">
                <a16:creationId xmlns:a16="http://schemas.microsoft.com/office/drawing/2014/main" id="{C4F672E7-6D4B-5252-C146-279C7ECA45A3}"/>
              </a:ext>
            </a:extLst>
          </p:cNvPr>
          <p:cNvSpPr txBox="1">
            <a:spLocks/>
          </p:cNvSpPr>
          <p:nvPr/>
        </p:nvSpPr>
        <p:spPr>
          <a:xfrm>
            <a:off x="9070810" y="5918074"/>
            <a:ext cx="1273064" cy="481595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AB5592"/>
              </a:buClr>
              <a:buNone/>
              <a:defRPr/>
            </a:pPr>
            <a:r>
              <a:rPr lang="pl-PL" altLang="en-US" sz="1200" b="1" dirty="0">
                <a:solidFill>
                  <a:srgbClr val="3D6D95"/>
                </a:solidFill>
                <a:latin typeface="Arial" panose="020B0604020202020204"/>
              </a:rPr>
              <a:t>COMPLETED</a:t>
            </a:r>
            <a:endParaRPr lang="en-US" altLang="en-US" sz="1200" b="1" dirty="0">
              <a:solidFill>
                <a:srgbClr val="3D6D95"/>
              </a:solidFill>
              <a:latin typeface="Arial" panose="020B0604020202020204"/>
            </a:endParaRPr>
          </a:p>
        </p:txBody>
      </p:sp>
      <p:pic>
        <p:nvPicPr>
          <p:cNvPr id="178" name="Picture 99">
            <a:hlinkClick r:id="rId6" action="ppaction://hlinksldjump"/>
            <a:extLst>
              <a:ext uri="{FF2B5EF4-FFF2-40B4-BE49-F238E27FC236}">
                <a16:creationId xmlns:a16="http://schemas.microsoft.com/office/drawing/2014/main" id="{6A712C0A-98E0-1E22-4505-CAFE06A621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0687" y="1570841"/>
            <a:ext cx="436854" cy="436854"/>
          </a:xfrm>
          <a:prstGeom prst="rect">
            <a:avLst/>
          </a:prstGeom>
        </p:spPr>
      </p:pic>
      <p:pic>
        <p:nvPicPr>
          <p:cNvPr id="179" name="Picture 54">
            <a:hlinkClick r:id="rId8" action="ppaction://hlinksldjump"/>
            <a:extLst>
              <a:ext uri="{FF2B5EF4-FFF2-40B4-BE49-F238E27FC236}">
                <a16:creationId xmlns:a16="http://schemas.microsoft.com/office/drawing/2014/main" id="{21D92703-163A-E441-16D9-531D500A8C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09450" y="1597356"/>
            <a:ext cx="405389" cy="405389"/>
          </a:xfrm>
          <a:prstGeom prst="rect">
            <a:avLst/>
          </a:prstGeom>
        </p:spPr>
      </p:pic>
      <p:pic>
        <p:nvPicPr>
          <p:cNvPr id="180" name="Picture 57">
            <a:hlinkClick r:id="" action="ppaction://noaction"/>
            <a:extLst>
              <a:ext uri="{FF2B5EF4-FFF2-40B4-BE49-F238E27FC236}">
                <a16:creationId xmlns:a16="http://schemas.microsoft.com/office/drawing/2014/main" id="{0DD78120-9D1C-FA73-CBAB-2802BFB3B6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00912" y="1615998"/>
            <a:ext cx="438243" cy="438243"/>
          </a:xfrm>
          <a:prstGeom prst="rect">
            <a:avLst/>
          </a:prstGeom>
        </p:spPr>
      </p:pic>
      <p:pic>
        <p:nvPicPr>
          <p:cNvPr id="181" name="Picture 65">
            <a:hlinkClick r:id="" action="ppaction://noaction"/>
            <a:extLst>
              <a:ext uri="{FF2B5EF4-FFF2-40B4-BE49-F238E27FC236}">
                <a16:creationId xmlns:a16="http://schemas.microsoft.com/office/drawing/2014/main" id="{EC1A2322-3325-3836-CCD0-A4CF787C04F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15516" y="1713247"/>
            <a:ext cx="412622" cy="412622"/>
          </a:xfrm>
          <a:prstGeom prst="rect">
            <a:avLst/>
          </a:prstGeom>
        </p:spPr>
      </p:pic>
      <p:pic>
        <p:nvPicPr>
          <p:cNvPr id="182" name="Picture 99">
            <a:hlinkClick r:id="rId6" action="ppaction://hlinksldjump"/>
            <a:extLst>
              <a:ext uri="{FF2B5EF4-FFF2-40B4-BE49-F238E27FC236}">
                <a16:creationId xmlns:a16="http://schemas.microsoft.com/office/drawing/2014/main" id="{5501A2D4-E8C5-7E83-21D5-B4DC8AFA1F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9256" y="3576101"/>
            <a:ext cx="281656" cy="281656"/>
          </a:xfrm>
          <a:prstGeom prst="rect">
            <a:avLst/>
          </a:prstGeom>
        </p:spPr>
      </p:pic>
      <p:pic>
        <p:nvPicPr>
          <p:cNvPr id="183" name="Picture 54">
            <a:hlinkClick r:id="" action="ppaction://noaction"/>
            <a:extLst>
              <a:ext uri="{FF2B5EF4-FFF2-40B4-BE49-F238E27FC236}">
                <a16:creationId xmlns:a16="http://schemas.microsoft.com/office/drawing/2014/main" id="{12E99307-6B48-0AC0-3A20-7C8D41073B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0617" y="3548530"/>
            <a:ext cx="282016" cy="282016"/>
          </a:xfrm>
          <a:prstGeom prst="rect">
            <a:avLst/>
          </a:prstGeom>
        </p:spPr>
      </p:pic>
      <p:sp>
        <p:nvSpPr>
          <p:cNvPr id="2" name="ZoneTexte 144">
            <a:extLst>
              <a:ext uri="{FF2B5EF4-FFF2-40B4-BE49-F238E27FC236}">
                <a16:creationId xmlns:a16="http://schemas.microsoft.com/office/drawing/2014/main" id="{D73E0C8A-8720-77A6-B019-2D6C26B4781C}"/>
              </a:ext>
            </a:extLst>
          </p:cNvPr>
          <p:cNvSpPr txBox="1"/>
          <p:nvPr/>
        </p:nvSpPr>
        <p:spPr>
          <a:xfrm rot="16200000">
            <a:off x="8938357" y="3293813"/>
            <a:ext cx="4932135" cy="830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>
              <a:defRPr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GHD=growth hormone deficiency</a:t>
            </a:r>
          </a:p>
          <a:p>
            <a:pPr defTabSz="914126">
              <a:defRPr/>
            </a:pP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1.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Zelinska N, et al. J Clin Endocrinol Metab. 2017;102:1578-1587.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2.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Zadik Z et al, J Pediatr Endocrinol Metab. 2023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3.</a:t>
            </a:r>
            <a:r>
              <a:rPr lang="en-US" altLang="en-US" sz="800" b="1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n-US" altLang="en-US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Deal CL et al, </a:t>
            </a:r>
            <a:r>
              <a:rPr lang="it-IT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J Clin Endocrinol Metab 2022, 107:e2717-e2728</a:t>
            </a:r>
            <a:r>
              <a:rPr lang="en-US" altLang="en-US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.</a:t>
            </a:r>
            <a:r>
              <a:rPr lang="en-US" altLang="en-US" sz="800" b="1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4</a:t>
            </a:r>
            <a:r>
              <a:rPr lang="fr-FR" altLang="en-US" sz="800" b="1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. </a:t>
            </a:r>
            <a:r>
              <a:rPr lang="fr-FR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Horikawa R et al,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it-IT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J Clin Endocrinol Metab.2022;107(7):e2717-e2728.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l-GR" sz="800" b="1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5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.</a:t>
            </a:r>
            <a:r>
              <a:rPr lang="en-US" altLang="en-US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 Maniatis AK et al, Treatment Burden of Weekly Somatrogon vs Daily Somatropin in Children With Growth Hormone Deficiency: A Randomized Study Journal of the Endocrine Society, 2022, 10;6, 1–10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.</a:t>
            </a:r>
            <a:r>
              <a:rPr lang="el-GR" sz="800" dirty="0">
                <a:solidFill>
                  <a:srgbClr val="000000"/>
                </a:solidFill>
                <a:latin typeface="Arial" panose="020B0604020202020204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" name="Tytuł 1">
            <a:extLst>
              <a:ext uri="{FF2B5EF4-FFF2-40B4-BE49-F238E27FC236}">
                <a16:creationId xmlns:a16="http://schemas.microsoft.com/office/drawing/2014/main" id="{8FEFBAC0-CEA0-E16A-1713-371D8D2DE18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1073" y="249514"/>
            <a:ext cx="12541729" cy="850392"/>
          </a:xfrm>
        </p:spPr>
        <p:txBody>
          <a:bodyPr/>
          <a:lstStyle/>
          <a:p>
            <a:r>
              <a:rPr lang="pl-PL" sz="3600" b="1" dirty="0" err="1">
                <a:solidFill>
                  <a:srgbClr val="0000CA"/>
                </a:solidFill>
                <a:latin typeface="Pfizer Tomorrow"/>
              </a:rPr>
              <a:t>Somatrogon</a:t>
            </a:r>
            <a:r>
              <a:rPr lang="pl-PL" sz="3600" b="1" dirty="0">
                <a:solidFill>
                  <a:srgbClr val="0000CA"/>
                </a:solidFill>
                <a:latin typeface="Pfizer Tomorrow"/>
              </a:rPr>
              <a:t> </a:t>
            </a:r>
            <a:r>
              <a:rPr lang="pl-PL" sz="3600" b="1" dirty="0" err="1">
                <a:solidFill>
                  <a:srgbClr val="0000CA"/>
                </a:solidFill>
                <a:latin typeface="Pfizer Tomorrow"/>
              </a:rPr>
              <a:t>clinical</a:t>
            </a:r>
            <a:r>
              <a:rPr lang="pl-PL" sz="3600" b="1" dirty="0">
                <a:solidFill>
                  <a:srgbClr val="0000CA"/>
                </a:solidFill>
                <a:latin typeface="Pfizer Tomorrow"/>
              </a:rPr>
              <a:t> </a:t>
            </a:r>
            <a:r>
              <a:rPr lang="pl-PL" sz="3600" b="1" dirty="0" err="1">
                <a:solidFill>
                  <a:srgbClr val="0000CA"/>
                </a:solidFill>
                <a:latin typeface="Pfizer Tomorrow"/>
              </a:rPr>
              <a:t>programme</a:t>
            </a:r>
            <a:r>
              <a:rPr lang="pl-PL" sz="3600" b="1" dirty="0">
                <a:solidFill>
                  <a:srgbClr val="0000CA"/>
                </a:solidFill>
                <a:latin typeface="Pfizer Tomorrow"/>
              </a:rPr>
              <a:t> for </a:t>
            </a:r>
            <a:r>
              <a:rPr lang="pl-PL" sz="3600" b="1" dirty="0" err="1">
                <a:solidFill>
                  <a:srgbClr val="0000CA"/>
                </a:solidFill>
                <a:latin typeface="Pfizer Tomorrow"/>
              </a:rPr>
              <a:t>paediatric</a:t>
            </a:r>
            <a:r>
              <a:rPr lang="pl-PL" sz="3600" b="1" dirty="0">
                <a:solidFill>
                  <a:srgbClr val="0000CA"/>
                </a:solidFill>
                <a:latin typeface="Pfizer Tomorrow"/>
              </a:rPr>
              <a:t> </a:t>
            </a:r>
            <a:r>
              <a:rPr lang="pl-PL" sz="3600" b="1" dirty="0" err="1">
                <a:solidFill>
                  <a:srgbClr val="0000CA"/>
                </a:solidFill>
                <a:latin typeface="Pfizer Tomorrow"/>
              </a:rPr>
              <a:t>patients</a:t>
            </a:r>
            <a:endParaRPr lang="pl-PL" sz="3600" b="1" dirty="0">
              <a:solidFill>
                <a:srgbClr val="0000CA"/>
              </a:solidFill>
              <a:latin typeface="Pfizer Tomorrow"/>
            </a:endParaRPr>
          </a:p>
        </p:txBody>
      </p:sp>
    </p:spTree>
    <p:extLst>
      <p:ext uri="{BB962C8B-B14F-4D97-AF65-F5344CB8AC3E}">
        <p14:creationId xmlns:p14="http://schemas.microsoft.com/office/powerpoint/2010/main" val="379090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ytuł 1">
            <a:extLst>
              <a:ext uri="{FF2B5EF4-FFF2-40B4-BE49-F238E27FC236}">
                <a16:creationId xmlns:a16="http://schemas.microsoft.com/office/drawing/2014/main" id="{C659F643-02FF-5EA3-BC98-888002DF53E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54434" y="383032"/>
            <a:ext cx="11292840" cy="850392"/>
          </a:xfrm>
        </p:spPr>
        <p:txBody>
          <a:bodyPr/>
          <a:lstStyle/>
          <a:p>
            <a:br>
              <a:rPr lang="pl-PL" altLang="pl-PL" sz="3200" dirty="0">
                <a:solidFill>
                  <a:srgbClr val="0099FF"/>
                </a:solidFill>
              </a:rPr>
            </a:br>
            <a:r>
              <a:rPr lang="pl-PL" altLang="pl-PL" sz="3200" dirty="0">
                <a:solidFill>
                  <a:srgbClr val="0099FF"/>
                </a:solidFill>
              </a:rPr>
              <a:t> </a:t>
            </a:r>
          </a:p>
        </p:txBody>
      </p:sp>
      <p:pic>
        <p:nvPicPr>
          <p:cNvPr id="49155" name="Symbol zastępczy zawartości 4" descr="2.JPG">
            <a:extLst>
              <a:ext uri="{FF2B5EF4-FFF2-40B4-BE49-F238E27FC236}">
                <a16:creationId xmlns:a16="http://schemas.microsoft.com/office/drawing/2014/main" id="{9DD50C12-97CA-27C6-3605-E95443214C3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0147" y="1038664"/>
            <a:ext cx="11948678" cy="5819336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5C57CB8-2810-0458-7162-7A894514FD39}"/>
              </a:ext>
            </a:extLst>
          </p:cNvPr>
          <p:cNvSpPr txBox="1"/>
          <p:nvPr/>
        </p:nvSpPr>
        <p:spPr bwMode="gray">
          <a:xfrm>
            <a:off x="240147" y="383032"/>
            <a:ext cx="95134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3600" b="1" dirty="0">
                <a:solidFill>
                  <a:srgbClr val="0000CA"/>
                </a:solidFill>
                <a:latin typeface="Pfizer Tomorrow"/>
              </a:rPr>
              <a:t>Wyniki z badania fazy 2: CP-4-004 i OLE</a:t>
            </a:r>
            <a:endParaRPr lang="pl-PL" sz="3600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Symbol zastępczy zawartości 2">
            <a:extLst>
              <a:ext uri="{FF2B5EF4-FFF2-40B4-BE49-F238E27FC236}">
                <a16:creationId xmlns:a16="http://schemas.microsoft.com/office/drawing/2014/main" id="{8B7FE082-26C9-0E57-3D9A-532B5418D6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8218" y="1732397"/>
            <a:ext cx="9873673" cy="2263775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r>
              <a:rPr lang="pl-PL" altLang="pl-PL" sz="2133" dirty="0">
                <a:solidFill>
                  <a:schemeClr val="accent1">
                    <a:lumMod val="75000"/>
                  </a:schemeClr>
                </a:solidFill>
              </a:rPr>
              <a:t>Otwarte, randomizowane, wieloośrodkowe, 12-miesięczne badanie 3 fazy oceniające skuteczność i bezpieczeństwo stosowania MOD-4023 podawanego raz w tygodniu w porównaniu do dziennych podań </a:t>
            </a:r>
            <a:r>
              <a:rPr lang="pl-PL" altLang="pl-PL" sz="2133" dirty="0" err="1">
                <a:solidFill>
                  <a:schemeClr val="accent1">
                    <a:lumMod val="75000"/>
                  </a:schemeClr>
                </a:solidFill>
              </a:rPr>
              <a:t>Genotropin</a:t>
            </a:r>
            <a:r>
              <a:rPr lang="pl-PL" altLang="pl-PL" sz="2133" dirty="0">
                <a:solidFill>
                  <a:schemeClr val="accent1">
                    <a:lumMod val="75000"/>
                  </a:schemeClr>
                </a:solidFill>
              </a:rPr>
              <a:t>® u dzieci w okresie </a:t>
            </a:r>
            <a:r>
              <a:rPr lang="pl-PL" altLang="pl-PL" sz="2133" dirty="0" err="1">
                <a:solidFill>
                  <a:schemeClr val="accent1">
                    <a:lumMod val="75000"/>
                  </a:schemeClr>
                </a:solidFill>
              </a:rPr>
              <a:t>przedpokwitaniowym</a:t>
            </a:r>
            <a:r>
              <a:rPr lang="pl-PL" altLang="pl-PL" sz="2133" dirty="0">
                <a:solidFill>
                  <a:schemeClr val="accent1">
                    <a:lumMod val="75000"/>
                  </a:schemeClr>
                </a:solidFill>
              </a:rPr>
              <a:t> z niedoborem hormonu wzrostu według protokołu nr CP-4-006. 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endParaRPr lang="pl-PL" altLang="pl-PL" sz="2133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F70DD44-5681-82A1-A094-12F5D99F667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31119" y="351346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Badania fazy 3: CP-4-006 i OLE 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8FA12C4C-00D8-0B8B-1CD0-37218E7FC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3CA7B72-B115-CFAF-0CA3-9392EB020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58367A7C-1A72-F4D2-C2A1-3C25D62E6D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Agenda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47478BE-C660-0198-3AC0-E55F51F4896D}"/>
              </a:ext>
            </a:extLst>
          </p:cNvPr>
          <p:cNvSpPr txBox="1">
            <a:spLocks/>
          </p:cNvSpPr>
          <p:nvPr/>
        </p:nvSpPr>
        <p:spPr bwMode="gray">
          <a:xfrm>
            <a:off x="443599" y="1714304"/>
            <a:ext cx="9008745" cy="2624784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dzienna terapia </a:t>
            </a:r>
            <a:r>
              <a:rPr lang="pl-PL" sz="2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hGH</a:t>
            </a: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obciążenie i zgodność z terapią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LAGH i mechanizm działania </a:t>
            </a:r>
            <a:r>
              <a:rPr lang="pl-PL" sz="2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gram kliniczny </a:t>
            </a:r>
            <a:r>
              <a:rPr lang="pl-PL" sz="2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awka oraz sposób podawania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onitorowanie poziomów IGF-1</a:t>
            </a: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223EABD-8481-C7AE-E1C9-29F5567A41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848" y="6035183"/>
            <a:ext cx="3648584" cy="676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190815"/>
      </p:ext>
    </p:extLst>
  </p:cSld>
  <p:clrMapOvr>
    <a:masterClrMapping/>
  </p:clrMapOvr>
  <p:transition spd="slow"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Symbol zastępczy zawartości 2">
            <a:extLst>
              <a:ext uri="{FF2B5EF4-FFF2-40B4-BE49-F238E27FC236}">
                <a16:creationId xmlns:a16="http://schemas.microsoft.com/office/drawing/2014/main" id="{D330E65F-9BCD-99E4-4125-7CF67A12F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855" y="1000994"/>
            <a:ext cx="11836400" cy="5132387"/>
          </a:xfrm>
        </p:spPr>
        <p:txBody>
          <a:bodyPr/>
          <a:lstStyle/>
          <a:p>
            <a:pPr>
              <a:defRPr/>
            </a:pP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220 dzieci </a:t>
            </a:r>
            <a:r>
              <a:rPr lang="pl-PL" altLang="pl-PL" sz="2000" b="1" dirty="0" err="1">
                <a:solidFill>
                  <a:schemeClr val="accent1">
                    <a:lumMod val="75000"/>
                  </a:schemeClr>
                </a:solidFill>
              </a:rPr>
              <a:t>przedpokwitaniowych</a:t>
            </a: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3rż, dziewczynki do 11 </a:t>
            </a:r>
            <a:r>
              <a:rPr lang="pl-PL" altLang="pl-PL" sz="1600" dirty="0" err="1">
                <a:solidFill>
                  <a:schemeClr val="accent1">
                    <a:lumMod val="75000"/>
                  </a:schemeClr>
                </a:solidFill>
              </a:rPr>
              <a:t>rż</a:t>
            </a: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 i chłopcy do 12 </a:t>
            </a:r>
            <a:r>
              <a:rPr lang="pl-PL" altLang="pl-PL" sz="1600" dirty="0" err="1">
                <a:solidFill>
                  <a:schemeClr val="accent1">
                    <a:lumMod val="75000"/>
                  </a:schemeClr>
                </a:solidFill>
              </a:rPr>
              <a:t>rż</a:t>
            </a: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 zrandomizowanych losowo w stosunku 1:1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grupa MOD-4023 raz w tygodniu w dawce 0.66 mg/kg/tydzień, 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grupa </a:t>
            </a:r>
            <a:r>
              <a:rPr lang="pl-PL" altLang="pl-PL" sz="1600" dirty="0" err="1">
                <a:solidFill>
                  <a:schemeClr val="accent1">
                    <a:lumMod val="75000"/>
                  </a:schemeClr>
                </a:solidFill>
              </a:rPr>
              <a:t>Genotropin</a:t>
            </a: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 w dawkach dziennych w dawce 0.034 mg/kg/dzień co odpowiada 0.24 mg/kg/tydzień,</a:t>
            </a:r>
          </a:p>
          <a:p>
            <a:pPr marL="287337" indent="-285750">
              <a:defRPr/>
            </a:pPr>
            <a:endParaRPr lang="pl-PL" altLang="pl-PL" sz="1600" dirty="0">
              <a:solidFill>
                <a:schemeClr val="accent1">
                  <a:lumMod val="75000"/>
                </a:schemeClr>
              </a:solidFill>
            </a:endParaRPr>
          </a:p>
          <a:p>
            <a:pPr marL="287337" indent="-285750">
              <a:defRPr/>
            </a:pPr>
            <a:endParaRPr lang="pl-PL" altLang="pl-PL" sz="1800" dirty="0">
              <a:solidFill>
                <a:schemeClr val="accent1">
                  <a:lumMod val="75000"/>
                </a:schemeClr>
              </a:solidFill>
            </a:endParaRPr>
          </a:p>
          <a:p>
            <a:pPr marL="287337" indent="-285750">
              <a:defRPr/>
            </a:pPr>
            <a:endParaRPr lang="pl-PL" altLang="pl-PL" sz="1800" dirty="0">
              <a:solidFill>
                <a:schemeClr val="accent1">
                  <a:lumMod val="75000"/>
                </a:schemeClr>
              </a:solidFill>
            </a:endParaRPr>
          </a:p>
          <a:p>
            <a:pPr marL="1587" indent="0">
              <a:buNone/>
              <a:defRPr/>
            </a:pPr>
            <a:endParaRPr lang="pl-PL" altLang="pl-PL" sz="1800" dirty="0">
              <a:solidFill>
                <a:schemeClr val="accent1">
                  <a:lumMod val="75000"/>
                </a:schemeClr>
              </a:solidFill>
            </a:endParaRPr>
          </a:p>
          <a:p>
            <a:pPr marL="287337" indent="-285750">
              <a:defRPr/>
            </a:pPr>
            <a:r>
              <a:rPr lang="pl-PL" altLang="pl-PL" sz="1800" b="1" dirty="0">
                <a:solidFill>
                  <a:schemeClr val="accent1">
                    <a:lumMod val="75000"/>
                  </a:schemeClr>
                </a:solidFill>
              </a:rPr>
              <a:t>Badanie prowadzone w 83 ośrodkach w 21 państwach:  </a:t>
            </a:r>
            <a:r>
              <a:rPr lang="pl-PL" altLang="pl-PL" sz="1800" dirty="0">
                <a:solidFill>
                  <a:schemeClr val="accent1">
                    <a:lumMod val="75000"/>
                  </a:schemeClr>
                </a:solidFill>
              </a:rPr>
              <a:t>Argentyna, Australia, Białoruś, Bułgaria, Canada,  Columbia, Gruzja, Grecja, Indie, Izrael,  Meksyk, Nowa  Zelandia, Polska, Rosja, Hiszpania, Korea, Tajwan, Turcja, Ukraina, Wielka Brytania, USA. </a:t>
            </a:r>
          </a:p>
          <a:p>
            <a:pPr marL="287337" indent="-285750">
              <a:defRPr/>
            </a:pPr>
            <a:r>
              <a:rPr lang="pl-PL" altLang="pl-PL" sz="1800" dirty="0">
                <a:solidFill>
                  <a:schemeClr val="accent1">
                    <a:lumMod val="75000"/>
                  </a:schemeClr>
                </a:solidFill>
              </a:rPr>
              <a:t>    koniec rekrutacji – lipiec 2018, po roku badanie przeszło w fazę OLE trwającą 4 lata</a:t>
            </a:r>
          </a:p>
          <a:p>
            <a:pPr lvl="1">
              <a:defRPr/>
            </a:pPr>
            <a:endParaRPr lang="pl-PL" altLang="pl-PL" sz="1244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1204" name="Symbol zastępczy zawartości 4" descr="2.JPG">
            <a:extLst>
              <a:ext uri="{FF2B5EF4-FFF2-40B4-BE49-F238E27FC236}">
                <a16:creationId xmlns:a16="http://schemas.microsoft.com/office/drawing/2014/main" id="{748C9EC5-28DE-BC81-D599-FC89A56F4D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274" y="2500844"/>
            <a:ext cx="3509962" cy="185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C81F7B16-DB04-6EB2-BEB7-C465AEC7416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39635" y="15060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Badania fazy 3: CP-4-006 i OLE 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714C100-1450-5356-1203-457D628AC2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Symbol zastępczy zawartości 2">
            <a:extLst>
              <a:ext uri="{FF2B5EF4-FFF2-40B4-BE49-F238E27FC236}">
                <a16:creationId xmlns:a16="http://schemas.microsoft.com/office/drawing/2014/main" id="{A52A0BEB-50A8-11C4-9FDD-58423864F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090" y="1706562"/>
            <a:ext cx="9938800" cy="4807671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pl-PL" altLang="pl-PL" sz="2000" dirty="0">
                <a:solidFill>
                  <a:schemeClr val="accent1">
                    <a:lumMod val="75000"/>
                  </a:schemeClr>
                </a:solidFill>
              </a:rPr>
              <a:t>Zastosowano 3 czynniki stratyfikacyjne podczas randomizacji:</a:t>
            </a:r>
          </a:p>
          <a:p>
            <a:pPr>
              <a:defRPr/>
            </a:pP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Pochodzenie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1.Europa Zachodnia, Izrael, Australia, Nowa Zelandia i USA; 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2. Europa Centralna i Wschodnia, Turcja, Ameryka Łacińska i Azja z wyjątkiem Indii i Wietnamu; 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3. Indie i Wietnam.</a:t>
            </a:r>
          </a:p>
          <a:p>
            <a:pPr>
              <a:defRPr/>
            </a:pP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Wartość szczytową wyrzutu GH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≤3 </a:t>
            </a:r>
            <a:r>
              <a:rPr lang="pl-PL" altLang="pl-PL" sz="1600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/ml;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&gt;3 do ≤7 </a:t>
            </a:r>
            <a:r>
              <a:rPr lang="pl-PL" altLang="pl-PL" sz="1600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/ml;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&gt;7  </a:t>
            </a:r>
            <a:r>
              <a:rPr lang="pl-PL" altLang="pl-PL" sz="1600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/ml</a:t>
            </a:r>
          </a:p>
          <a:p>
            <a:pPr>
              <a:defRPr/>
            </a:pPr>
            <a:r>
              <a:rPr lang="pl-PL" altLang="pl-PL" sz="2000" b="1" dirty="0">
                <a:solidFill>
                  <a:schemeClr val="accent1">
                    <a:lumMod val="75000"/>
                  </a:schemeClr>
                </a:solidFill>
              </a:rPr>
              <a:t>Wiek kalendarzowy (CA) 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≥3 lat do ≤ 7 lat, </a:t>
            </a:r>
          </a:p>
          <a:p>
            <a:pPr lvl="1">
              <a:defRPr/>
            </a:pPr>
            <a:r>
              <a:rPr lang="pl-PL" altLang="pl-PL" sz="1600" dirty="0">
                <a:solidFill>
                  <a:schemeClr val="accent1">
                    <a:lumMod val="75000"/>
                  </a:schemeClr>
                </a:solidFill>
              </a:rPr>
              <a:t>&gt; 7 lat</a:t>
            </a:r>
          </a:p>
          <a:p>
            <a:pPr lvl="1">
              <a:defRPr/>
            </a:pPr>
            <a:endParaRPr lang="pl-PL" altLang="pl-PL" sz="1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66A1468E-3C7C-0F28-9AC9-16CDDF5B9B3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0836" y="157382"/>
            <a:ext cx="12147232" cy="154918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800" b="1" dirty="0">
                <a:solidFill>
                  <a:srgbClr val="0000CA"/>
                </a:solidFill>
                <a:latin typeface="Pfizer Tomorrow"/>
              </a:rPr>
              <a:t>Somatrogon – Pfizer, </a:t>
            </a:r>
            <a:endParaRPr lang="pl-PL" sz="4800" b="1" dirty="0">
              <a:solidFill>
                <a:srgbClr val="0000CA"/>
              </a:solidFill>
              <a:latin typeface="Pfizer Tomorrow"/>
            </a:endParaRPr>
          </a:p>
          <a:p>
            <a:pPr algn="ctr"/>
            <a:r>
              <a:rPr lang="pt-BR" sz="4800" b="1" dirty="0">
                <a:solidFill>
                  <a:srgbClr val="0000CA"/>
                </a:solidFill>
                <a:latin typeface="Pfizer Tomorrow"/>
              </a:rPr>
              <a:t>CP-4-006, faza 3 + OLE</a:t>
            </a:r>
            <a:endParaRPr lang="pl-PL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5498FD0-0994-9240-B754-61BD3A08D45F}"/>
              </a:ext>
            </a:extLst>
          </p:cNvPr>
          <p:cNvGraphicFramePr>
            <a:graphicFrameLocks/>
          </p:cNvGraphicFramePr>
          <p:nvPr/>
        </p:nvGraphicFramePr>
        <p:xfrm>
          <a:off x="7346153" y="1730604"/>
          <a:ext cx="4256393" cy="2507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3AFF7C-AC36-0642-BA60-E4A443DE0F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GHD=growth hormone deficiency; HV=height velocity; LS=least squares.</a:t>
            </a:r>
          </a:p>
          <a:p>
            <a:r>
              <a:rPr lang="en-US"/>
              <a:t>1. </a:t>
            </a:r>
            <a:r>
              <a:rPr lang="en-GB"/>
              <a:t>Deal C, et al. </a:t>
            </a:r>
            <a:r>
              <a:rPr lang="en-US" i="1"/>
              <a:t>J Clin Endocrinol Metab</a:t>
            </a:r>
            <a:r>
              <a:rPr lang="en-US"/>
              <a:t>. 2022;107(7):e2717-e2728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9C3851-0ACB-4C41-939A-374C2E1C6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3600" b="1" dirty="0">
                <a:solidFill>
                  <a:srgbClr val="0000CA"/>
                </a:solidFill>
                <a:latin typeface="Pfizer Tomorrow"/>
              </a:rPr>
              <a:t>Roczne tempo wzrostu w 12. miesiącu</a:t>
            </a:r>
            <a:r>
              <a:rPr lang="en-US" sz="3600" baseline="30000" dirty="0"/>
              <a:t> </a:t>
            </a:r>
            <a:r>
              <a:rPr lang="en-US" sz="2800" baseline="30000" dirty="0"/>
              <a:t>1</a:t>
            </a:r>
            <a:br>
              <a:rPr lang="pt-BR" sz="2800" b="1" dirty="0">
                <a:solidFill>
                  <a:srgbClr val="0000CA"/>
                </a:solidFill>
                <a:latin typeface="Pfizer Tomorrow"/>
              </a:rPr>
            </a:br>
            <a:br>
              <a:rPr lang="pl-PL" dirty="0"/>
            </a:br>
            <a:endParaRPr lang="en-GB" baseline="30000" dirty="0"/>
          </a:p>
        </p:txBody>
      </p:sp>
      <p:sp>
        <p:nvSpPr>
          <p:cNvPr id="7" name="Rounded Rectangle 37">
            <a:extLst>
              <a:ext uri="{FF2B5EF4-FFF2-40B4-BE49-F238E27FC236}">
                <a16:creationId xmlns:a16="http://schemas.microsoft.com/office/drawing/2014/main" id="{5C47B62F-00EF-3C41-8FF3-E0A949949F0F}"/>
              </a:ext>
            </a:extLst>
          </p:cNvPr>
          <p:cNvSpPr/>
          <p:nvPr/>
        </p:nvSpPr>
        <p:spPr>
          <a:xfrm>
            <a:off x="302837" y="1540210"/>
            <a:ext cx="6999376" cy="5443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99" b="1" dirty="0">
                <a:solidFill>
                  <a:schemeClr val="accent1"/>
                </a:solidFill>
              </a:rPr>
              <a:t>Primary Endpoint: </a:t>
            </a:r>
            <a:r>
              <a:rPr lang="pl-PL" sz="1999" b="1" dirty="0">
                <a:solidFill>
                  <a:schemeClr val="accent1"/>
                </a:solidFill>
              </a:rPr>
              <a:t>Roczne tempo wzrostu (HV) (cm/rok)</a:t>
            </a:r>
            <a:endParaRPr lang="en-US" sz="1999" b="1" dirty="0">
              <a:solidFill>
                <a:schemeClr val="accent1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0343DCE-0A28-5646-AB05-449D578F8A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5584230"/>
              </p:ext>
            </p:extLst>
          </p:nvPr>
        </p:nvGraphicFramePr>
        <p:xfrm>
          <a:off x="786817" y="2219398"/>
          <a:ext cx="5855237" cy="167628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389491">
                  <a:extLst>
                    <a:ext uri="{9D8B030D-6E8A-4147-A177-3AD203B41FA5}">
                      <a16:colId xmlns:a16="http://schemas.microsoft.com/office/drawing/2014/main" val="4109195293"/>
                    </a:ext>
                  </a:extLst>
                </a:gridCol>
                <a:gridCol w="1523785">
                  <a:extLst>
                    <a:ext uri="{9D8B030D-6E8A-4147-A177-3AD203B41FA5}">
                      <a16:colId xmlns:a16="http://schemas.microsoft.com/office/drawing/2014/main" val="45800125"/>
                    </a:ext>
                  </a:extLst>
                </a:gridCol>
                <a:gridCol w="1466097">
                  <a:extLst>
                    <a:ext uri="{9D8B030D-6E8A-4147-A177-3AD203B41FA5}">
                      <a16:colId xmlns:a16="http://schemas.microsoft.com/office/drawing/2014/main" val="1188270925"/>
                    </a:ext>
                  </a:extLst>
                </a:gridCol>
                <a:gridCol w="1475864">
                  <a:extLst>
                    <a:ext uri="{9D8B030D-6E8A-4147-A177-3AD203B41FA5}">
                      <a16:colId xmlns:a16="http://schemas.microsoft.com/office/drawing/2014/main" val="2882304621"/>
                    </a:ext>
                  </a:extLst>
                </a:gridCol>
              </a:tblGrid>
              <a:tr h="578969">
                <a:tc>
                  <a:txBody>
                    <a:bodyPr/>
                    <a:lstStyle/>
                    <a:p>
                      <a:endParaRPr lang="en-CA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416" marR="91416" marT="45708" marB="45708" anchor="b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err="1">
                          <a:solidFill>
                            <a:schemeClr val="bg1"/>
                          </a:solidFill>
                        </a:rPr>
                        <a:t>Somatrogon</a:t>
                      </a:r>
                      <a:endParaRPr lang="en-CA" sz="16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CA" sz="1600" b="1" dirty="0">
                          <a:solidFill>
                            <a:schemeClr val="bg1"/>
                          </a:solidFill>
                        </a:rPr>
                        <a:t>(n=109)</a:t>
                      </a:r>
                      <a:endParaRPr lang="en-CA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416" marR="91416" marT="45708" marB="45708" anchor="b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b="1" dirty="0" err="1">
                          <a:solidFill>
                            <a:schemeClr val="tx1"/>
                          </a:solidFill>
                        </a:rPr>
                        <a:t>Somatropina</a:t>
                      </a:r>
                      <a:endParaRPr lang="en-CA" sz="1600" b="1" baseline="300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CA" sz="1600" b="1" dirty="0">
                          <a:solidFill>
                            <a:schemeClr val="tx1"/>
                          </a:solidFill>
                        </a:rPr>
                        <a:t>(n=115)</a:t>
                      </a:r>
                      <a:endParaRPr lang="en-CA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416" marR="91416" marT="45708" marB="45708" anchor="b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>
                          <a:solidFill>
                            <a:schemeClr val="bg1"/>
                          </a:solidFill>
                        </a:rPr>
                        <a:t>Treatment Difference</a:t>
                      </a:r>
                      <a:endParaRPr lang="en-CA" sz="1600" b="1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416" marR="91416" marT="45708" marB="45708" anchor="b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0030874"/>
                  </a:ext>
                </a:extLst>
              </a:tr>
              <a:tr h="670385">
                <a:tc>
                  <a:txBody>
                    <a:bodyPr/>
                    <a:lstStyle/>
                    <a:p>
                      <a:r>
                        <a:rPr lang="en-CA" sz="1600" b="1"/>
                        <a:t>LS means estimate</a:t>
                      </a:r>
                      <a:endParaRPr lang="en-CA" sz="1600" b="1">
                        <a:latin typeface="Arial" panose="020B0604020202020204" pitchFamily="34" charset="0"/>
                      </a:endParaRPr>
                    </a:p>
                  </a:txBody>
                  <a:tcPr marL="91416" marR="91416" marT="91416" marB="9141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/>
                        <a:t>10.10</a:t>
                      </a:r>
                      <a:endParaRPr lang="en-CA" sz="1600">
                        <a:latin typeface="Arial" panose="020B0604020202020204" pitchFamily="34" charset="0"/>
                      </a:endParaRPr>
                    </a:p>
                  </a:txBody>
                  <a:tcPr marL="91416" marR="91416" marT="91416" marB="9141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/>
                        <a:t>9.78</a:t>
                      </a:r>
                      <a:endParaRPr lang="en-CA" sz="1600">
                        <a:latin typeface="Arial" panose="020B0604020202020204" pitchFamily="34" charset="0"/>
                      </a:endParaRPr>
                    </a:p>
                  </a:txBody>
                  <a:tcPr marL="91416" marR="91416" marT="91416" marB="9141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/>
                        <a:t>0.33</a:t>
                      </a:r>
                      <a:endParaRPr lang="en-CA" sz="1600">
                        <a:latin typeface="Arial" panose="020B0604020202020204" pitchFamily="34" charset="0"/>
                      </a:endParaRPr>
                    </a:p>
                  </a:txBody>
                  <a:tcPr marL="91416" marR="91416" marT="91416" marB="9141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76283013"/>
                  </a:ext>
                </a:extLst>
              </a:tr>
              <a:tr h="426609">
                <a:tc gridSpan="3">
                  <a:txBody>
                    <a:bodyPr/>
                    <a:lstStyle/>
                    <a:p>
                      <a:r>
                        <a:rPr lang="en-CA" sz="1600" b="1"/>
                        <a:t>95</a:t>
                      </a:r>
                      <a:r>
                        <a:rPr lang="en-CA" sz="1600" b="1">
                          <a:solidFill>
                            <a:schemeClr val="tx1"/>
                          </a:solidFill>
                        </a:rPr>
                        <a:t>% CI</a:t>
                      </a:r>
                      <a:endParaRPr lang="en-CA" sz="1600" b="1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416" marR="91416" marT="91416" marB="914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/>
                    </a:p>
                  </a:txBody>
                  <a:tcPr marL="144000" marR="14400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/>
                    </a:p>
                  </a:txBody>
                  <a:tcPr marL="144000" marR="144000" marT="72000" marB="72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/>
                        <a:t>[-0.24 </a:t>
                      </a:r>
                      <a:r>
                        <a:rPr lang="en-CA" sz="1600" dirty="0">
                          <a:solidFill>
                            <a:schemeClr val="tx1"/>
                          </a:solidFill>
                        </a:rPr>
                        <a:t>to </a:t>
                      </a:r>
                      <a:r>
                        <a:rPr lang="en-CA" sz="1600" dirty="0"/>
                        <a:t>0.89]</a:t>
                      </a:r>
                      <a:endParaRPr lang="en-CA" sz="1600" dirty="0">
                        <a:latin typeface="Arial" panose="020B0604020202020204" pitchFamily="34" charset="0"/>
                      </a:endParaRPr>
                    </a:p>
                  </a:txBody>
                  <a:tcPr marL="91416" marR="91416" marT="91416" marB="914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6342297"/>
                  </a:ext>
                </a:extLst>
              </a:tr>
            </a:tbl>
          </a:graphicData>
        </a:graphic>
      </p:graphicFrame>
      <p:grpSp>
        <p:nvGrpSpPr>
          <p:cNvPr id="52" name="Group 51">
            <a:extLst>
              <a:ext uri="{FF2B5EF4-FFF2-40B4-BE49-F238E27FC236}">
                <a16:creationId xmlns:a16="http://schemas.microsoft.com/office/drawing/2014/main" id="{79B2D778-DC2C-46D5-B21D-6583225C7A28}"/>
              </a:ext>
            </a:extLst>
          </p:cNvPr>
          <p:cNvGrpSpPr/>
          <p:nvPr/>
        </p:nvGrpSpPr>
        <p:grpSpPr>
          <a:xfrm>
            <a:off x="9220853" y="2944302"/>
            <a:ext cx="1182845" cy="73728"/>
            <a:chOff x="9222996" y="3134466"/>
            <a:chExt cx="1057771" cy="207961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2408B961-6272-7F4C-A8DC-B2166800A642}"/>
                </a:ext>
              </a:extLst>
            </p:cNvPr>
            <p:cNvCxnSpPr/>
            <p:nvPr/>
          </p:nvCxnSpPr>
          <p:spPr>
            <a:xfrm>
              <a:off x="10280767" y="3134466"/>
              <a:ext cx="0" cy="20796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02B94D0-F1D3-DF42-A6E7-ABD3B2B05AB2}"/>
                </a:ext>
              </a:extLst>
            </p:cNvPr>
            <p:cNvCxnSpPr/>
            <p:nvPr/>
          </p:nvCxnSpPr>
          <p:spPr>
            <a:xfrm>
              <a:off x="9222996" y="3238446"/>
              <a:ext cx="1057771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61FC4DB-BA85-4743-B6A2-E45B3301D0DE}"/>
                </a:ext>
              </a:extLst>
            </p:cNvPr>
            <p:cNvCxnSpPr/>
            <p:nvPr/>
          </p:nvCxnSpPr>
          <p:spPr>
            <a:xfrm>
              <a:off x="9222996" y="3134466"/>
              <a:ext cx="0" cy="20796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</p:cxn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52657AA-2D73-4612-9666-A88B87D8DC01}"/>
              </a:ext>
            </a:extLst>
          </p:cNvPr>
          <p:cNvCxnSpPr>
            <a:cxnSpLocks/>
          </p:cNvCxnSpPr>
          <p:nvPr/>
        </p:nvCxnSpPr>
        <p:spPr>
          <a:xfrm flipV="1">
            <a:off x="7699504" y="1803365"/>
            <a:ext cx="0" cy="2242987"/>
          </a:xfrm>
          <a:prstGeom prst="line">
            <a:avLst/>
          </a:prstGeom>
          <a:noFill/>
          <a:ln w="25400" cap="rnd">
            <a:solidFill>
              <a:schemeClr val="accent2"/>
            </a:solidFill>
            <a:prstDash val="sysDot"/>
            <a:round/>
            <a:headEnd/>
            <a:tailEnd/>
          </a:ln>
          <a:effectLst/>
        </p:spPr>
      </p:cxnSp>
      <p:sp>
        <p:nvSpPr>
          <p:cNvPr id="6" name="Rounded Rectangle 36">
            <a:extLst>
              <a:ext uri="{FF2B5EF4-FFF2-40B4-BE49-F238E27FC236}">
                <a16:creationId xmlns:a16="http://schemas.microsoft.com/office/drawing/2014/main" id="{616B55C6-ECF1-604D-A26B-E5DC8AA7B67C}"/>
              </a:ext>
            </a:extLst>
          </p:cNvPr>
          <p:cNvSpPr/>
          <p:nvPr/>
        </p:nvSpPr>
        <p:spPr>
          <a:xfrm>
            <a:off x="6208683" y="1437684"/>
            <a:ext cx="5393864" cy="3724300"/>
          </a:xfrm>
          <a:prstGeom prst="roundRect">
            <a:avLst>
              <a:gd name="adj" fmla="val 2416"/>
            </a:avLst>
          </a:prstGeom>
          <a:noFill/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16" bIns="91416" rtlCol="0" anchor="ctr"/>
          <a:lstStyle/>
          <a:p>
            <a:pPr marL="285664" indent="-285664">
              <a:spcAft>
                <a:spcPts val="1799"/>
              </a:spcAft>
              <a:buFont typeface="Arial" panose="020B0604020202020204" pitchFamily="34" charset="0"/>
              <a:buChar char="•"/>
            </a:pPr>
            <a:endParaRPr lang="en-US" sz="1999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22C331-CF51-9240-89FE-F75135EA90B3}"/>
              </a:ext>
            </a:extLst>
          </p:cNvPr>
          <p:cNvSpPr txBox="1"/>
          <p:nvPr/>
        </p:nvSpPr>
        <p:spPr>
          <a:xfrm>
            <a:off x="7144382" y="1255116"/>
            <a:ext cx="1122131" cy="461545"/>
          </a:xfrm>
          <a:prstGeom prst="rect">
            <a:avLst/>
          </a:prstGeom>
        </p:spPr>
        <p:txBody>
          <a:bodyPr wrap="none" rtlCol="0" anchor="b">
            <a:spAutoFit/>
          </a:bodyPr>
          <a:lstStyle>
            <a:defPPr>
              <a:defRPr lang="en-US"/>
            </a:defPPr>
            <a:lvl1pPr algn="ctr">
              <a:buClr>
                <a:schemeClr val="tx1"/>
              </a:buClr>
              <a:buSzPct val="100000"/>
              <a:defRPr sz="1200"/>
            </a:lvl1pPr>
          </a:lstStyle>
          <a:p>
            <a:r>
              <a:rPr lang="en-CA" dirty="0"/>
              <a:t>Margin of</a:t>
            </a:r>
          </a:p>
          <a:p>
            <a:r>
              <a:rPr lang="en-CA" dirty="0"/>
              <a:t>non-Inferior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BE5D02-9045-B74B-897B-9F41DEAC12B5}"/>
              </a:ext>
            </a:extLst>
          </p:cNvPr>
          <p:cNvSpPr txBox="1"/>
          <p:nvPr/>
        </p:nvSpPr>
        <p:spPr>
          <a:xfrm>
            <a:off x="9076760" y="4102136"/>
            <a:ext cx="811019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en-CA" sz="1400" kern="0">
                <a:latin typeface="Arial"/>
              </a:rPr>
              <a:t>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FAA5CA-7578-DF4A-9409-D99E7DEB7191}"/>
              </a:ext>
            </a:extLst>
          </p:cNvPr>
          <p:cNvSpPr txBox="1"/>
          <p:nvPr/>
        </p:nvSpPr>
        <p:spPr>
          <a:xfrm>
            <a:off x="7283903" y="4102136"/>
            <a:ext cx="811019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en-CA" sz="1400" kern="0">
                <a:solidFill>
                  <a:srgbClr val="000000"/>
                </a:solidFill>
                <a:latin typeface="Arial"/>
              </a:rPr>
              <a:t>-1.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140C5F-A750-4547-BF42-410D458D7207}"/>
              </a:ext>
            </a:extLst>
          </p:cNvPr>
          <p:cNvSpPr txBox="1"/>
          <p:nvPr/>
        </p:nvSpPr>
        <p:spPr>
          <a:xfrm>
            <a:off x="7638062" y="4341538"/>
            <a:ext cx="3831645" cy="584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pl-PL" sz="1600" b="1" kern="0" dirty="0"/>
              <a:t>Różnica w tempie wzrostu po 12 miesiącach (cm/rok)</a:t>
            </a:r>
            <a:endParaRPr lang="en-US" sz="1600" b="1" kern="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C7557A-C2CC-E34D-BA5F-98818BE05627}"/>
              </a:ext>
            </a:extLst>
          </p:cNvPr>
          <p:cNvSpPr txBox="1"/>
          <p:nvPr/>
        </p:nvSpPr>
        <p:spPr>
          <a:xfrm>
            <a:off x="8940872" y="3079425"/>
            <a:ext cx="503162" cy="2454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126">
              <a:defRPr/>
            </a:pPr>
            <a:r>
              <a:rPr lang="en-CA" sz="1400" kern="0">
                <a:solidFill>
                  <a:srgbClr val="000000"/>
                </a:solidFill>
                <a:latin typeface="Arial"/>
              </a:rPr>
              <a:t>-0.2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F8A6CC-196B-B741-98E8-EA0491CE4BD3}"/>
              </a:ext>
            </a:extLst>
          </p:cNvPr>
          <p:cNvSpPr txBox="1"/>
          <p:nvPr/>
        </p:nvSpPr>
        <p:spPr>
          <a:xfrm>
            <a:off x="10140413" y="3079425"/>
            <a:ext cx="503162" cy="2454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126">
              <a:defRPr/>
            </a:pPr>
            <a:r>
              <a:rPr lang="en-CA" sz="1400" kern="0">
                <a:solidFill>
                  <a:srgbClr val="000000"/>
                </a:solidFill>
                <a:latin typeface="Arial"/>
              </a:rPr>
              <a:t>0.8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BEA96C-9321-9244-A768-298F019F12EC}"/>
              </a:ext>
            </a:extLst>
          </p:cNvPr>
          <p:cNvSpPr txBox="1"/>
          <p:nvPr/>
        </p:nvSpPr>
        <p:spPr>
          <a:xfrm>
            <a:off x="9548072" y="2620833"/>
            <a:ext cx="503162" cy="2454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126">
              <a:defRPr/>
            </a:pPr>
            <a:r>
              <a:rPr lang="en-CA" sz="1400" kern="0">
                <a:solidFill>
                  <a:srgbClr val="000000"/>
                </a:solidFill>
                <a:latin typeface="Arial"/>
              </a:rPr>
              <a:t>0.3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038AD1-3664-3646-A566-8BC549752F90}"/>
              </a:ext>
            </a:extLst>
          </p:cNvPr>
          <p:cNvSpPr txBox="1"/>
          <p:nvPr/>
        </p:nvSpPr>
        <p:spPr>
          <a:xfrm>
            <a:off x="9676316" y="1662613"/>
            <a:ext cx="1158990" cy="5230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rs</a:t>
            </a:r>
            <a:br>
              <a:rPr lang="en-CA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atrog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D139E12-FA34-A549-87C9-176F012589FD}"/>
              </a:ext>
            </a:extLst>
          </p:cNvPr>
          <p:cNvSpPr txBox="1"/>
          <p:nvPr/>
        </p:nvSpPr>
        <p:spPr>
          <a:xfrm>
            <a:off x="8209780" y="1662613"/>
            <a:ext cx="1069245" cy="5230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rs</a:t>
            </a:r>
            <a:br>
              <a:rPr lang="en-CA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otropin</a:t>
            </a:r>
            <a:endParaRPr lang="en-CA" sz="1400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F848F7C-C45F-4813-BF35-E0B4B5BB4A77}"/>
              </a:ext>
            </a:extLst>
          </p:cNvPr>
          <p:cNvCxnSpPr/>
          <p:nvPr/>
        </p:nvCxnSpPr>
        <p:spPr>
          <a:xfrm flipH="1">
            <a:off x="8095640" y="2213725"/>
            <a:ext cx="1267464" cy="0"/>
          </a:xfrm>
          <a:prstGeom prst="straightConnector1">
            <a:avLst/>
          </a:prstGeom>
          <a:noFill/>
          <a:ln w="28575" cap="rnd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 type="triangle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079AB70-7E89-40FC-968D-D1298F39A565}"/>
              </a:ext>
            </a:extLst>
          </p:cNvPr>
          <p:cNvCxnSpPr/>
          <p:nvPr/>
        </p:nvCxnSpPr>
        <p:spPr>
          <a:xfrm>
            <a:off x="9672335" y="2213725"/>
            <a:ext cx="1267464" cy="0"/>
          </a:xfrm>
          <a:prstGeom prst="straightConnector1">
            <a:avLst/>
          </a:prstGeom>
          <a:noFill/>
          <a:ln w="28575" cap="rnd">
            <a:solidFill>
              <a:schemeClr val="accent1"/>
            </a:solidFill>
            <a:prstDash val="solid"/>
            <a:round/>
            <a:headEnd/>
            <a:tailEnd type="triangle"/>
          </a:ln>
          <a:effectLst/>
        </p:spPr>
      </p:cxn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24171AA1-BCDA-06A7-A622-234A855F9F24}"/>
              </a:ext>
            </a:extLst>
          </p:cNvPr>
          <p:cNvSpPr/>
          <p:nvPr/>
        </p:nvSpPr>
        <p:spPr>
          <a:xfrm flipH="1">
            <a:off x="9652687" y="11165"/>
            <a:ext cx="2681378" cy="349238"/>
          </a:xfrm>
          <a:prstGeom prst="parallelogram">
            <a:avLst>
              <a:gd name="adj" fmla="val 412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0" bIns="0" anchor="ctr" anchorCtr="0">
            <a:spAutoFit/>
          </a:bodyPr>
          <a:lstStyle/>
          <a:p>
            <a:pPr algn="r"/>
            <a:r>
              <a:rPr lang="en-CA" sz="1799"/>
              <a:t>Phase 3 (CP-4-006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4946CD-A9C6-9ACE-0B16-E5639914506B}"/>
              </a:ext>
            </a:extLst>
          </p:cNvPr>
          <p:cNvSpPr/>
          <p:nvPr/>
        </p:nvSpPr>
        <p:spPr bwMode="gray">
          <a:xfrm>
            <a:off x="443163" y="5138487"/>
            <a:ext cx="11246226" cy="66162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pl-PL" sz="1799" b="1" kern="0" dirty="0" err="1">
                <a:solidFill>
                  <a:schemeClr val="accent1"/>
                </a:solidFill>
                <a:cs typeface="Arial" panose="020B0604020202020204" pitchFamily="34" charset="0"/>
              </a:rPr>
              <a:t>Somatrogon</a:t>
            </a:r>
            <a:r>
              <a:rPr lang="pl-PL" sz="1799" b="1" kern="0" dirty="0">
                <a:solidFill>
                  <a:schemeClr val="accent1"/>
                </a:solidFill>
                <a:cs typeface="Arial" panose="020B0604020202020204" pitchFamily="34" charset="0"/>
              </a:rPr>
              <a:t> podawany raz w tygodniu nie był gorszy od codziennej </a:t>
            </a:r>
            <a:r>
              <a:rPr lang="pl-PL" sz="1799" b="1" kern="0" dirty="0" err="1">
                <a:solidFill>
                  <a:schemeClr val="accent1"/>
                </a:solidFill>
                <a:cs typeface="Arial" panose="020B0604020202020204" pitchFamily="34" charset="0"/>
              </a:rPr>
              <a:t>Somatropiny</a:t>
            </a:r>
            <a:r>
              <a:rPr lang="pl-PL" sz="1799" b="1" kern="0" dirty="0">
                <a:solidFill>
                  <a:schemeClr val="accent1"/>
                </a:solidFill>
                <a:cs typeface="Arial" panose="020B0604020202020204" pitchFamily="34" charset="0"/>
              </a:rPr>
              <a:t> pod względem rocznego tempa wzrostu po 12 miesiącach leczenia u pacjentów pediatrycznych z GHD.</a:t>
            </a:r>
            <a:endParaRPr lang="en-US" sz="1799" b="1" kern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9507165-C398-3164-5E49-6223BF9522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837" y="6218593"/>
            <a:ext cx="3346361" cy="62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276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3" name="Symbol zastępczy zawartości 4">
            <a:extLst>
              <a:ext uri="{FF2B5EF4-FFF2-40B4-BE49-F238E27FC236}">
                <a16:creationId xmlns:a16="http://schemas.microsoft.com/office/drawing/2014/main" id="{8F333FA0-7FB4-CE50-B1EE-C485323166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54973" y="1429112"/>
            <a:ext cx="9168879" cy="3999775"/>
          </a:xfr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78801B25-A32F-A02C-C126-F1276078CE81}"/>
              </a:ext>
            </a:extLst>
          </p:cNvPr>
          <p:cNvSpPr txBox="1"/>
          <p:nvPr/>
        </p:nvSpPr>
        <p:spPr>
          <a:xfrm>
            <a:off x="2586327" y="5498233"/>
            <a:ext cx="8137525" cy="9233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l-PL" altLang="pl-PL" dirty="0">
                <a:solidFill>
                  <a:schemeClr val="accent1">
                    <a:lumMod val="75000"/>
                  </a:schemeClr>
                </a:solidFill>
              </a:rPr>
              <a:t>Przez wszystkie 5 lat większość AE miała nasilenie łagodne do umiarkowanego, a częstość występowania ciężkich AE w każdym roku wynosiła &lt;10%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81A727D-AA9E-C92A-EA89-C68CAB863D1A}"/>
              </a:ext>
            </a:extLst>
          </p:cNvPr>
          <p:cNvSpPr txBox="1"/>
          <p:nvPr/>
        </p:nvSpPr>
        <p:spPr bwMode="gray">
          <a:xfrm>
            <a:off x="397382" y="242867"/>
            <a:ext cx="1161011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800" b="1" spc="-25" dirty="0">
                <a:solidFill>
                  <a:srgbClr val="0000CA"/>
                </a:solidFill>
                <a:latin typeface="Pfizer Tomorrow"/>
              </a:rPr>
              <a:t>Badanie fazy 3: CP-4-006 + OLE: punkty końcowe dotyczące bezpieczeństwa: po 5 latach trwania badania</a:t>
            </a:r>
            <a:endParaRPr lang="en-US" sz="2800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ytuł 1">
            <a:extLst>
              <a:ext uri="{FF2B5EF4-FFF2-40B4-BE49-F238E27FC236}">
                <a16:creationId xmlns:a16="http://schemas.microsoft.com/office/drawing/2014/main" id="{5FD835EC-B105-A876-FC14-3E6A8100D4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01675" y="838617"/>
            <a:ext cx="10185474" cy="718950"/>
          </a:xfrm>
        </p:spPr>
        <p:txBody>
          <a:bodyPr/>
          <a:lstStyle/>
          <a:p>
            <a:r>
              <a:rPr lang="pl-PL" altLang="pl-PL" sz="3999" b="1" dirty="0">
                <a:solidFill>
                  <a:srgbClr val="00B0F0"/>
                </a:solidFill>
              </a:rPr>
              <a:t>Bezpieczeństwo – ból w miejscu wkłucia</a:t>
            </a:r>
          </a:p>
        </p:txBody>
      </p:sp>
      <p:sp>
        <p:nvSpPr>
          <p:cNvPr id="70659" name="Symbol zastępczy zawartości 2">
            <a:extLst>
              <a:ext uri="{FF2B5EF4-FFF2-40B4-BE49-F238E27FC236}">
                <a16:creationId xmlns:a16="http://schemas.microsoft.com/office/drawing/2014/main" id="{B07AD23B-456E-E331-D4B1-C645A7CF5989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917107" y="2225024"/>
            <a:ext cx="10587269" cy="4113728"/>
          </a:xfrm>
        </p:spPr>
        <p:txBody>
          <a:bodyPr/>
          <a:lstStyle/>
          <a:p>
            <a:r>
              <a:rPr lang="pl-PL" altLang="pl-PL" sz="2399" dirty="0"/>
              <a:t>Najczęściej zgłaszanymi AE (≥10% pacjentów) były ból w miejscu wstrzyknięcia, zapalenie </a:t>
            </a:r>
            <a:r>
              <a:rPr lang="pl-PL" altLang="pl-PL" sz="2399" dirty="0" err="1"/>
              <a:t>nosogardła</a:t>
            </a:r>
            <a:r>
              <a:rPr lang="pl-PL" altLang="pl-PL" sz="2399" dirty="0"/>
              <a:t>, ból głowy i gorączka w badaniu głównym oraz ból w miejscu wstrzyknięcia w OLE.</a:t>
            </a:r>
          </a:p>
          <a:p>
            <a:endParaRPr lang="pl-PL" altLang="pl-PL" sz="2399" dirty="0"/>
          </a:p>
          <a:p>
            <a:r>
              <a:rPr lang="pl-PL" altLang="pl-PL" sz="2399" dirty="0"/>
              <a:t>Przez 5 lat najczęstszym AE był ból w miejscu wstrzyknięcia, z częstością występowania wynoszącą 39,4% (</a:t>
            </a:r>
            <a:r>
              <a:rPr lang="pl-PL" altLang="pl-PL" sz="2399" dirty="0" err="1"/>
              <a:t>somatrogon</a:t>
            </a:r>
            <a:r>
              <a:rPr lang="pl-PL" altLang="pl-PL" sz="2399" dirty="0"/>
              <a:t>) i 25,2% (</a:t>
            </a:r>
            <a:r>
              <a:rPr lang="pl-PL" altLang="pl-PL" sz="2399" dirty="0" err="1"/>
              <a:t>somatropina</a:t>
            </a:r>
            <a:r>
              <a:rPr lang="pl-PL" altLang="pl-PL" sz="2399" dirty="0"/>
              <a:t>) w okresie głównego badania oraz odpowiednio 27,8%, 16,5%, 14,7% i 11,7% w OLE Y1, Y2, Y3 i Y4.</a:t>
            </a:r>
          </a:p>
          <a:p>
            <a:endParaRPr lang="pl-PL" altLang="pl-PL" sz="1600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5064EF63-2EDC-A26F-FD77-988F48936E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5458937-5585-C783-A16A-B4FBDD8B6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669" y="3638178"/>
            <a:ext cx="11292840" cy="2589879"/>
          </a:xfrm>
        </p:spPr>
        <p:txBody>
          <a:bodyPr vert="horz" lIns="45720" tIns="45720" rIns="45720" bIns="45720" rtlCol="0" anchor="t">
            <a:noAutofit/>
          </a:bodyPr>
          <a:lstStyle/>
          <a:p>
            <a:pPr marL="456565" indent="-169545"/>
            <a:r>
              <a:rPr lang="pl-PL" b="1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kuteczność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 cotygodniowych wstrzyknięć </a:t>
            </a:r>
            <a:r>
              <a:rPr lang="pl-PL" b="0" i="0" dirty="0" err="1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omatrogonu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pl-PL" b="1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nie różniła się 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od skuteczności codziennych wstrzyknięć </a:t>
            </a:r>
            <a:r>
              <a:rPr lang="pl-PL" b="0" i="0" dirty="0" err="1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omatropiny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 w leczeniu dzieci z niskim poziomem GH.</a:t>
            </a:r>
          </a:p>
          <a:p>
            <a:pPr marL="456565" indent="-169545"/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Dzieci leczone cotygodniowym </a:t>
            </a:r>
            <a:r>
              <a:rPr lang="pl-PL" b="0" i="0" dirty="0" err="1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omatrogonem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 miały </a:t>
            </a:r>
            <a:r>
              <a:rPr lang="pl-PL" b="1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zwiększone tempo wzrostu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, podobne do dzieci leczonych codzienną </a:t>
            </a:r>
            <a:r>
              <a:rPr lang="pl-PL" b="0" i="0" dirty="0" err="1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omatropiną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. </a:t>
            </a:r>
            <a:endParaRPr lang="pl-PL" dirty="0">
              <a:solidFill>
                <a:schemeClr val="accent1">
                  <a:lumMod val="75000"/>
                </a:schemeClr>
              </a:solidFill>
              <a:latin typeface="Segoe UI" panose="020B0502040204020203" pitchFamily="34" charset="0"/>
            </a:endParaRPr>
          </a:p>
          <a:p>
            <a:pPr marL="456565" indent="-169545"/>
            <a:r>
              <a:rPr lang="pl-PL" b="1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Bezpieczeństwo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 cotygodniowych wstrzyknięć </a:t>
            </a:r>
            <a:r>
              <a:rPr lang="pl-PL" b="0" i="0" dirty="0" err="1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omatrogonu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 było podobne do bezpieczeństwa codziennych wstrzyknięć </a:t>
            </a:r>
            <a:r>
              <a:rPr lang="pl-PL" b="0" i="0" dirty="0" err="1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somatropiny</a:t>
            </a:r>
            <a:r>
              <a:rPr lang="pl-PL" b="0" i="0" dirty="0"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</a:rPr>
              <a:t>. </a:t>
            </a:r>
            <a:endParaRPr lang="pl-PL" sz="20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456565" lvl="1" indent="-169545">
              <a:buSzPct val="100000"/>
            </a:pPr>
            <a:endParaRPr lang="pl-PL" sz="20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9E49545B-CE58-A9D6-441D-F2A71D6A6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179" y="374761"/>
            <a:ext cx="4391248" cy="1879341"/>
          </a:xfrm>
        </p:spPr>
        <p:txBody>
          <a:bodyPr/>
          <a:lstStyle/>
          <a:p>
            <a:r>
              <a:rPr lang="pl-PL" sz="4750" b="1" spc="-25" dirty="0">
                <a:solidFill>
                  <a:srgbClr val="0000CA"/>
                </a:solidFill>
                <a:latin typeface="Pfizer Tomorrow"/>
              </a:rPr>
              <a:t>Skuteczność</a:t>
            </a:r>
            <a:br>
              <a:rPr lang="pl-PL" sz="4750" b="1" spc="-25" dirty="0">
                <a:solidFill>
                  <a:srgbClr val="0000CA"/>
                </a:solidFill>
                <a:latin typeface="Pfizer Tomorrow"/>
              </a:rPr>
            </a:br>
            <a:r>
              <a:rPr lang="pl-PL" sz="4750" b="1" spc="-25" dirty="0">
                <a:solidFill>
                  <a:srgbClr val="0000CA"/>
                </a:solidFill>
                <a:latin typeface="Pfizer Tomorrow"/>
              </a:rPr>
              <a:t>Bezpieczeństwo </a:t>
            </a:r>
          </a:p>
          <a:p>
            <a:endParaRPr lang="pl-PL" sz="4750" b="1" spc="-25" dirty="0">
              <a:solidFill>
                <a:srgbClr val="0000CA"/>
              </a:solidFill>
              <a:latin typeface="Pfizer Tomorrow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7E2712-F95B-67A2-6AE7-7E946A6D7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6427" y="141023"/>
            <a:ext cx="7361644" cy="3287977"/>
          </a:xfrm>
          <a:prstGeom prst="rect">
            <a:avLst/>
          </a:prstGeom>
          <a:ln w="25400">
            <a:solidFill>
              <a:srgbClr val="003FE2"/>
            </a:solidFill>
          </a:ln>
        </p:spPr>
      </p:pic>
      <p:pic>
        <p:nvPicPr>
          <p:cNvPr id="2" name="Obraz 1">
            <a:extLst>
              <a:ext uri="{FF2B5EF4-FFF2-40B4-BE49-F238E27FC236}">
                <a16:creationId xmlns:a16="http://schemas.microsoft.com/office/drawing/2014/main" id="{7EF69A51-D326-12FC-BA84-B5F511B293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5730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5458937-5585-C783-A16A-B4FBDD8B6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481" y="2764472"/>
            <a:ext cx="11301862" cy="3354124"/>
          </a:xfrm>
        </p:spPr>
        <p:txBody>
          <a:bodyPr vert="horz" lIns="45720" tIns="45720" rIns="45720" bIns="45720" rtlCol="0" anchor="t">
            <a:noAutofit/>
          </a:bodyPr>
          <a:lstStyle/>
          <a:p>
            <a:pPr marL="744220" indent="-457200">
              <a:spcBef>
                <a:spcPts val="1998"/>
              </a:spcBef>
              <a:buAutoNum type="arabicPeriod"/>
            </a:pP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zieci, które mają </a:t>
            </a: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większone ryzyko słabej adherencji do codziennego podawania hormonu wzrostu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takie jak nastolatki oraz te, u których wcześniej udokumentowano słabą adherencję. </a:t>
            </a:r>
            <a:endParaRPr lang="en-US" sz="1800" dirty="0">
              <a:solidFill>
                <a:schemeClr val="accent1">
                  <a:lumMod val="75000"/>
                </a:schemeClr>
              </a:solidFill>
            </a:endParaRPr>
          </a:p>
          <a:p>
            <a:pPr marL="744220" indent="-457200">
              <a:spcBef>
                <a:spcPts val="1998"/>
              </a:spcBef>
              <a:buAutoNum type="arabicPeriod"/>
            </a:pP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zieci </a:t>
            </a: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 lękiem i niepokojem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związanym z zastrzykami: </a:t>
            </a:r>
          </a:p>
          <a:p>
            <a:pPr marL="972820" lvl="1" indent="-169545">
              <a:spcBef>
                <a:spcPts val="1998"/>
              </a:spcBef>
            </a:pP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ajmłodsze dzieci, które zaczynają leczenie w Programie Lekowym </a:t>
            </a:r>
          </a:p>
          <a:p>
            <a:pPr marL="972820" lvl="1" indent="-169545">
              <a:spcBef>
                <a:spcPts val="1998"/>
              </a:spcBef>
            </a:pP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zieci z </a:t>
            </a:r>
            <a:r>
              <a:rPr lang="pl-PL" sz="18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euro</a:t>
            </a: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zróżnicowaniem / </a:t>
            </a:r>
            <a:r>
              <a:rPr lang="pl-PL" sz="1800" b="1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eurodiversity</a:t>
            </a: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w tym autyzmem i ADHD) lub innymi zaburzeniami neurologicznymi lub behawioralnymi, które mogą mieć zwiększoną tendencję do odczuwania stresu związanego z zastrzykami. </a:t>
            </a:r>
            <a:endParaRPr lang="pl-PL" sz="1800" dirty="0">
              <a:solidFill>
                <a:schemeClr val="accent1">
                  <a:lumMod val="75000"/>
                </a:schemeClr>
              </a:solidFill>
            </a:endParaRPr>
          </a:p>
          <a:p>
            <a:pPr marL="744220" indent="-457200">
              <a:spcBef>
                <a:spcPts val="1998"/>
              </a:spcBef>
              <a:buAutoNum type="arabicPeriod"/>
            </a:pP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zieci prowadzące aktywne życie i </a:t>
            </a: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zęsto podróżujące 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( zielona szkoła) ; zawody sportowe, zajęcia pozaszkolne (np. grupy muzyczne), obozy i częste nocowania poza domem.</a:t>
            </a:r>
            <a:endParaRPr lang="pl-PL" sz="20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456565" lvl="1" indent="-169545">
              <a:buSzPct val="100000"/>
            </a:pPr>
            <a:endParaRPr lang="pl-PL" sz="20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73B2B0-4582-C820-06CB-CF20D1FEB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4660" y="73463"/>
            <a:ext cx="6978138" cy="239329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2" name="Tytuł 2">
            <a:extLst>
              <a:ext uri="{FF2B5EF4-FFF2-40B4-BE49-F238E27FC236}">
                <a16:creationId xmlns:a16="http://schemas.microsoft.com/office/drawing/2014/main" id="{58ABFC08-9D3F-9C3A-DDCF-A179CABDADB2}"/>
              </a:ext>
            </a:extLst>
          </p:cNvPr>
          <p:cNvSpPr txBox="1">
            <a:spLocks/>
          </p:cNvSpPr>
          <p:nvPr/>
        </p:nvSpPr>
        <p:spPr bwMode="gray">
          <a:xfrm>
            <a:off x="614405" y="687002"/>
            <a:ext cx="4166318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750" b="1" spc="-25" dirty="0">
                <a:solidFill>
                  <a:srgbClr val="0000CA"/>
                </a:solidFill>
                <a:latin typeface="Pfizer Tomorrow"/>
              </a:rPr>
              <a:t>Profil Pacjenta</a:t>
            </a:r>
            <a:endParaRPr lang="pl-PL" sz="2650" dirty="0">
              <a:cs typeface="Arial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E219C58A-BB76-BE3A-923B-C388B3D51C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918" y="611859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3302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2CD6C48-5A0F-9AAE-A3F9-DF9763CCC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0489AF6D-51D2-7B29-39E5-FC74DDB081E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Agenda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F5661AEE-23DB-662E-A148-2C99C025AA95}"/>
              </a:ext>
            </a:extLst>
          </p:cNvPr>
          <p:cNvSpPr txBox="1">
            <a:spLocks/>
          </p:cNvSpPr>
          <p:nvPr/>
        </p:nvSpPr>
        <p:spPr bwMode="gray">
          <a:xfrm>
            <a:off x="443599" y="1714303"/>
            <a:ext cx="9008745" cy="4280925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Codzienna terap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rhGH</a:t>
            </a: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, obciążenie i zgodność z terapią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LAGH i mechanizm działan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Program kliniczny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awkowanie oraz sposób podawania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Monitorowanie poziomów IGF-1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yskusja</a:t>
            </a:r>
            <a:endParaRPr lang="en-US" sz="2400" dirty="0">
              <a:solidFill>
                <a:schemeClr val="accent1">
                  <a:lumMod val="40000"/>
                  <a:lumOff val="60000"/>
                </a:schemeClr>
              </a:solidFill>
              <a:cs typeface="Arial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A3A7FCCF-B51D-5A33-7999-A28B8DCD9B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3018"/>
      </p:ext>
    </p:extLst>
  </p:cSld>
  <p:clrMapOvr>
    <a:masterClrMapping/>
  </p:clrMapOvr>
  <p:transition spd="slow"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FC81F46-F218-5FEB-820E-0841E43D2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17D63D94-FD44-4B69-BC60-DF45CF037272" descr="IMG_3531.jpg">
            <a:extLst>
              <a:ext uri="{FF2B5EF4-FFF2-40B4-BE49-F238E27FC236}">
                <a16:creationId xmlns:a16="http://schemas.microsoft.com/office/drawing/2014/main" id="{FC3C8FFB-2BD6-866F-CCDA-864732BC93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089" y="412742"/>
            <a:ext cx="6408623" cy="3285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NGENLA™ (somatrogon-ghla) Injection for Pediatric GHD | Safety Info">
            <a:extLst>
              <a:ext uri="{FF2B5EF4-FFF2-40B4-BE49-F238E27FC236}">
                <a16:creationId xmlns:a16="http://schemas.microsoft.com/office/drawing/2014/main" id="{EC16BDA5-1B3D-8BB9-7913-A11156239B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089" y="4093227"/>
            <a:ext cx="6408624" cy="2346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Obraz 1">
            <a:extLst>
              <a:ext uri="{FF2B5EF4-FFF2-40B4-BE49-F238E27FC236}">
                <a16:creationId xmlns:a16="http://schemas.microsoft.com/office/drawing/2014/main" id="{E3EC18FF-5504-D4B9-F8F4-D6F9585156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824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762077B-9806-F575-D200-0CCD63718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165B3B60-E56F-D91B-1714-FDD41252182E}"/>
              </a:ext>
            </a:extLst>
          </p:cNvPr>
          <p:cNvSpPr txBox="1"/>
          <p:nvPr/>
        </p:nvSpPr>
        <p:spPr>
          <a:xfrm>
            <a:off x="4327985" y="6610951"/>
            <a:ext cx="3761395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 dirty="0">
              <a:solidFill>
                <a:srgbClr val="434343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EC117-28E3-A429-4733-34490AFEC9CB}"/>
              </a:ext>
            </a:extLst>
          </p:cNvPr>
          <p:cNvSpPr txBox="1"/>
          <p:nvPr/>
        </p:nvSpPr>
        <p:spPr>
          <a:xfrm>
            <a:off x="598360" y="3383292"/>
            <a:ext cx="2676002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8E7692-FAD3-E494-50FF-3873EFDF9E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946" y="1235497"/>
            <a:ext cx="11292840" cy="627648"/>
          </a:xfrm>
        </p:spPr>
        <p:txBody>
          <a:bodyPr/>
          <a:lstStyle/>
          <a:p>
            <a:pPr marL="456565" indent="-169545">
              <a:lnSpc>
                <a:spcPct val="100000"/>
              </a:lnSpc>
            </a:pPr>
            <a:r>
              <a:rPr lang="pl-PL" sz="17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kazania: 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odukt leczniczy </a:t>
            </a:r>
            <a:r>
              <a:rPr lang="pl-PL" sz="1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genla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(</a:t>
            </a:r>
            <a:r>
              <a:rPr lang="pl-PL" sz="1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 jest wskazany do stosowania </a:t>
            </a:r>
            <a:r>
              <a:rPr lang="pl-PL" sz="17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 leczeniu dzieci i młodzieży w wieku 3 lat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i starszych z zaburzeniami wzrostu spowodowanymi niedostatecznym wydzielaniem hormonu wzrostu</a:t>
            </a:r>
            <a:endParaRPr lang="pl-PL" sz="17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endParaRPr lang="pl-PL" dirty="0"/>
          </a:p>
          <a:p>
            <a:endParaRPr lang="en-US" dirty="0"/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5E004CBE-6F78-CC28-5DE9-63BFE212D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283474"/>
            <a:ext cx="11292840" cy="850392"/>
          </a:xfrm>
        </p:spPr>
        <p:txBody>
          <a:bodyPr/>
          <a:lstStyle/>
          <a:p>
            <a:r>
              <a:rPr lang="pl-PL" sz="4750" b="1" spc="-25" dirty="0" err="1">
                <a:solidFill>
                  <a:srgbClr val="0000CA"/>
                </a:solidFill>
                <a:latin typeface="Pfizer Tomorrow"/>
              </a:rPr>
              <a:t>Somatrogon</a:t>
            </a:r>
            <a:r>
              <a:rPr lang="pl-PL" sz="4750" b="1" spc="-25" dirty="0">
                <a:solidFill>
                  <a:srgbClr val="0000CA"/>
                </a:solidFill>
                <a:latin typeface="Pfizer Tomorrow"/>
              </a:rPr>
              <a:t>: </a:t>
            </a:r>
            <a:r>
              <a:rPr lang="pl-PL" sz="4750" b="1" spc="-25" dirty="0" err="1">
                <a:solidFill>
                  <a:srgbClr val="0000CA"/>
                </a:solidFill>
                <a:latin typeface="Pfizer Tomorrow"/>
              </a:rPr>
              <a:t>Wstrzykiwacz</a:t>
            </a:r>
            <a:r>
              <a:rPr lang="pl-PL" sz="4750" b="1" spc="-25" dirty="0">
                <a:solidFill>
                  <a:srgbClr val="0000CA"/>
                </a:solidFill>
                <a:latin typeface="Pfizer Tomorrow"/>
              </a:rPr>
              <a:t> napełnion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760F69-3611-B804-3375-F1AD66F683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65" y="3345774"/>
            <a:ext cx="5486400" cy="1437319"/>
          </a:xfrm>
          <a:ln w="22225">
            <a:solidFill>
              <a:schemeClr val="tx1"/>
            </a:solidFill>
          </a:ln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799" b="0" dirty="0">
                <a:solidFill>
                  <a:srgbClr val="000000"/>
                </a:solidFill>
              </a:rPr>
              <a:t>Zawiera </a:t>
            </a:r>
            <a:r>
              <a:rPr lang="el-GR" sz="1799" dirty="0">
                <a:solidFill>
                  <a:srgbClr val="7030A0"/>
                </a:solidFill>
                <a:latin typeface="Arial" panose="020B0604020202020204"/>
              </a:rPr>
              <a:t>24</a:t>
            </a:r>
            <a:r>
              <a:rPr lang="en-US" sz="1799" dirty="0">
                <a:solidFill>
                  <a:srgbClr val="7030A0"/>
                </a:solidFill>
                <a:latin typeface="Arial" panose="020B0604020202020204"/>
              </a:rPr>
              <a:t> </a:t>
            </a:r>
            <a:r>
              <a:rPr lang="el-GR" sz="1799" dirty="0">
                <a:solidFill>
                  <a:srgbClr val="7030A0"/>
                </a:solidFill>
                <a:latin typeface="Arial" panose="020B0604020202020204"/>
              </a:rPr>
              <a:t>mg </a:t>
            </a:r>
            <a:r>
              <a:rPr lang="en-US" sz="1799" dirty="0">
                <a:solidFill>
                  <a:srgbClr val="7030A0"/>
                </a:solidFill>
                <a:latin typeface="Arial" panose="020B0604020202020204"/>
              </a:rPr>
              <a:t>S</a:t>
            </a:r>
            <a:r>
              <a:rPr lang="el-GR" sz="1799" dirty="0">
                <a:solidFill>
                  <a:srgbClr val="7030A0"/>
                </a:solidFill>
                <a:latin typeface="Arial" panose="020B0604020202020204"/>
              </a:rPr>
              <a:t>omatrogon</a:t>
            </a:r>
            <a:r>
              <a:rPr lang="pl-PL" sz="1799" dirty="0">
                <a:solidFill>
                  <a:srgbClr val="7030A0"/>
                </a:solidFill>
                <a:latin typeface="Arial" panose="020B0604020202020204"/>
              </a:rPr>
              <a:t>u </a:t>
            </a:r>
            <a:r>
              <a:rPr lang="pl-PL" sz="1799" b="0" dirty="0">
                <a:solidFill>
                  <a:srgbClr val="000000"/>
                </a:solidFill>
              </a:rPr>
              <a:t>w 1,2 ml roztworu, </a:t>
            </a:r>
            <a:br>
              <a:rPr lang="pl-PL" sz="1799" b="0" dirty="0">
                <a:solidFill>
                  <a:srgbClr val="000000"/>
                </a:solidFill>
              </a:rPr>
            </a:br>
            <a:r>
              <a:rPr lang="pl-PL" sz="1799" b="0" dirty="0">
                <a:solidFill>
                  <a:srgbClr val="000000"/>
                </a:solidFill>
              </a:rPr>
              <a:t>z podziałką 0,2 mg (skok podawania leku)</a:t>
            </a:r>
            <a:br>
              <a:rPr lang="pl-PL" sz="1799" b="0" dirty="0">
                <a:solidFill>
                  <a:srgbClr val="000000"/>
                </a:solidFill>
              </a:rPr>
            </a:br>
            <a:r>
              <a:rPr lang="pl-PL" sz="1799" b="0" dirty="0">
                <a:solidFill>
                  <a:srgbClr val="000000"/>
                </a:solidFill>
              </a:rPr>
              <a:t>
Każdy </a:t>
            </a:r>
            <a:r>
              <a:rPr lang="pl-PL" sz="1799" b="0" dirty="0" err="1">
                <a:solidFill>
                  <a:srgbClr val="000000"/>
                </a:solidFill>
              </a:rPr>
              <a:t>wstrzykiwacz</a:t>
            </a:r>
            <a:r>
              <a:rPr lang="pl-PL" sz="1799" b="0" dirty="0">
                <a:solidFill>
                  <a:srgbClr val="000000"/>
                </a:solidFill>
              </a:rPr>
              <a:t> dostarcza dawki od 0,2 mg do 12 mg w jednym wstrzyknięciu</a:t>
            </a:r>
            <a:endParaRPr lang="el-GR" sz="1799" b="0" dirty="0">
              <a:solidFill>
                <a:srgbClr val="000000"/>
              </a:solidFill>
              <a:latin typeface="Arial" panose="020B0604020202020204"/>
            </a:endParaRPr>
          </a:p>
          <a:p>
            <a:endParaRPr lang="en-US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D9DC28E-767E-2788-DB12-D6E9BA344B4B}"/>
              </a:ext>
            </a:extLst>
          </p:cNvPr>
          <p:cNvSpPr txBox="1">
            <a:spLocks/>
          </p:cNvSpPr>
          <p:nvPr/>
        </p:nvSpPr>
        <p:spPr>
          <a:xfrm>
            <a:off x="3665174" y="6376257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Ngenla</a:t>
            </a:r>
            <a:r>
              <a:rPr lang="pl-PL" sz="800" dirty="0">
                <a:solidFill>
                  <a:srgbClr val="000000"/>
                </a:solidFill>
              </a:rPr>
              <a:t> (</a:t>
            </a:r>
            <a:r>
              <a:rPr lang="pl-PL" sz="800" dirty="0" err="1">
                <a:solidFill>
                  <a:srgbClr val="000000"/>
                </a:solidFill>
              </a:rPr>
              <a:t>somatrogon</a:t>
            </a:r>
            <a:r>
              <a:rPr lang="pl-PL" sz="800" dirty="0">
                <a:solidFill>
                  <a:srgbClr val="000000"/>
                </a:solidFill>
              </a:rPr>
              <a:t>), 03/2024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BB76E0-0629-2B77-746B-A41C8E38EC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650" y="1948240"/>
            <a:ext cx="5943031" cy="17415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567C760-AB23-5F92-CB5F-AB58F87486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8460" y="1988743"/>
            <a:ext cx="5337252" cy="1613316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38AE31-09EE-A27F-0635-3776D6D0A19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8460" y="3345773"/>
            <a:ext cx="5486400" cy="1437319"/>
          </a:xfrm>
          <a:ln w="22225">
            <a:solidFill>
              <a:schemeClr val="tx1"/>
            </a:solidFill>
          </a:ln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799" b="0" dirty="0">
                <a:solidFill>
                  <a:srgbClr val="000000"/>
                </a:solidFill>
              </a:rPr>
              <a:t>Zawiera </a:t>
            </a:r>
            <a:r>
              <a:rPr lang="en-US" sz="1799" dirty="0">
                <a:solidFill>
                  <a:srgbClr val="0000C9">
                    <a:lumMod val="75000"/>
                  </a:srgbClr>
                </a:solidFill>
                <a:latin typeface="Arial" panose="020B0604020202020204"/>
              </a:rPr>
              <a:t>60 </a:t>
            </a:r>
            <a:r>
              <a:rPr lang="el-GR" sz="1799" dirty="0">
                <a:solidFill>
                  <a:srgbClr val="0000C9">
                    <a:lumMod val="75000"/>
                  </a:srgbClr>
                </a:solidFill>
                <a:latin typeface="Arial" panose="020B0604020202020204"/>
              </a:rPr>
              <a:t>mg </a:t>
            </a:r>
            <a:r>
              <a:rPr lang="en-US" sz="1799" dirty="0" err="1">
                <a:solidFill>
                  <a:srgbClr val="0000C9">
                    <a:lumMod val="75000"/>
                  </a:srgbClr>
                </a:solidFill>
                <a:latin typeface="Arial" panose="020B0604020202020204"/>
              </a:rPr>
              <a:t>Somatrogon</a:t>
            </a:r>
            <a:r>
              <a:rPr lang="pl-PL" sz="1799" dirty="0">
                <a:solidFill>
                  <a:srgbClr val="0000C9">
                    <a:lumMod val="75000"/>
                  </a:srgbClr>
                </a:solidFill>
                <a:latin typeface="Arial" panose="020B0604020202020204"/>
              </a:rPr>
              <a:t>u</a:t>
            </a:r>
            <a:r>
              <a:rPr lang="pl-PL" sz="1799" dirty="0">
                <a:solidFill>
                  <a:srgbClr val="000000"/>
                </a:solidFill>
              </a:rPr>
              <a:t> </a:t>
            </a:r>
            <a:r>
              <a:rPr lang="pl-PL" sz="1799" b="0" dirty="0">
                <a:solidFill>
                  <a:srgbClr val="000000"/>
                </a:solidFill>
              </a:rPr>
              <a:t>w 1,2 ml roztworu, </a:t>
            </a:r>
            <a:br>
              <a:rPr lang="pl-PL" sz="1799" b="0" dirty="0">
                <a:solidFill>
                  <a:srgbClr val="000000"/>
                </a:solidFill>
              </a:rPr>
            </a:br>
            <a:r>
              <a:rPr lang="pl-PL" sz="1799" b="0" dirty="0">
                <a:solidFill>
                  <a:srgbClr val="000000"/>
                </a:solidFill>
              </a:rPr>
              <a:t>z podziałką 0,5 mg</a:t>
            </a:r>
            <a:br>
              <a:rPr lang="pl-PL" sz="1799" b="0" dirty="0">
                <a:solidFill>
                  <a:srgbClr val="000000"/>
                </a:solidFill>
              </a:rPr>
            </a:br>
            <a:r>
              <a:rPr lang="pl-PL" sz="1799" b="0" dirty="0">
                <a:solidFill>
                  <a:srgbClr val="000000"/>
                </a:solidFill>
              </a:rPr>
              <a:t>
Każdy </a:t>
            </a:r>
            <a:r>
              <a:rPr lang="pl-PL" sz="1799" b="0" dirty="0" err="1">
                <a:solidFill>
                  <a:srgbClr val="000000"/>
                </a:solidFill>
              </a:rPr>
              <a:t>wstrzykiwacz</a:t>
            </a:r>
            <a:r>
              <a:rPr lang="pl-PL" sz="1799" b="0" dirty="0">
                <a:solidFill>
                  <a:srgbClr val="000000"/>
                </a:solidFill>
              </a:rPr>
              <a:t> dostarcza dawki od 0,5 mg do 30 mg w jednym wstrzyknięciu</a:t>
            </a:r>
            <a:endParaRPr lang="el-GR" sz="1799" b="0" dirty="0">
              <a:solidFill>
                <a:srgbClr val="000000"/>
              </a:solidFill>
              <a:latin typeface="Arial" panose="020B0604020202020204"/>
            </a:endParaRPr>
          </a:p>
          <a:p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A26D698-BAC1-46F7-5044-DA3410E20E76}"/>
              </a:ext>
            </a:extLst>
          </p:cNvPr>
          <p:cNvSpPr txBox="1">
            <a:spLocks/>
          </p:cNvSpPr>
          <p:nvPr/>
        </p:nvSpPr>
        <p:spPr bwMode="gray">
          <a:xfrm>
            <a:off x="287449" y="5025215"/>
            <a:ext cx="11698566" cy="1162683"/>
          </a:xfrm>
          <a:prstGeom prst="rect">
            <a:avLst/>
          </a:prstGeom>
          <a:noFill/>
        </p:spPr>
        <p:txBody>
          <a:bodyPr vert="horz" wrap="square" lIns="0" tIns="45720" rIns="0" bIns="45720" rtlCol="0">
            <a:noAutofit/>
          </a:bodyPr>
          <a:lstStyle>
            <a:lvl1pPr marL="0" indent="0" algn="l" defTabSz="91412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63" indent="-169812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85594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14126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088698" indent="-114266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20">
              <a:spcBef>
                <a:spcPts val="1998"/>
              </a:spcBef>
            </a:pPr>
            <a:r>
              <a:rPr lang="pl-PL" sz="17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ażne: 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 jednego </a:t>
            </a:r>
            <a:r>
              <a:rPr lang="pl-PL" sz="1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trzykiwacza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l-PL" sz="1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omatrogonu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można podać nie więcej niż 5 wstrzyknięć, a </a:t>
            </a:r>
            <a:r>
              <a:rPr lang="pl-PL" sz="17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trzykiwacza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nie należy używać dłużej niż 28 dni.</a:t>
            </a:r>
          </a:p>
          <a:p>
            <a:pPr marL="287020">
              <a:spcBef>
                <a:spcPts val="1998"/>
              </a:spcBef>
            </a:pPr>
            <a:r>
              <a:rPr lang="pl-PL" sz="17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zechowywanie: </a:t>
            </a:r>
            <a:r>
              <a:rPr lang="pl-PL" sz="17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emp. +2 do +8 °C, ale dopuszczalne jest pozostawienie go w temp. +32°C do 4 h. </a:t>
            </a:r>
            <a:endParaRPr lang="pl-PL" sz="1700" dirty="0">
              <a:solidFill>
                <a:srgbClr val="000096"/>
              </a:solidFill>
              <a:cs typeface="Arial"/>
            </a:endParaRPr>
          </a:p>
          <a:p>
            <a:pPr marL="287020">
              <a:spcBef>
                <a:spcPts val="1998"/>
              </a:spcBef>
            </a:pPr>
            <a:endParaRPr lang="pl-PL" sz="17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endParaRPr lang="pl-PL" dirty="0"/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04599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78B7FA87-0488-13D0-5062-F6E01B4A6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25C21EBE-8AB3-FF8C-B751-D8115AE4B0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Agenda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ECF94AEB-DADF-1ECD-B41D-91D467261844}"/>
              </a:ext>
            </a:extLst>
          </p:cNvPr>
          <p:cNvSpPr txBox="1">
            <a:spLocks/>
          </p:cNvSpPr>
          <p:nvPr/>
        </p:nvSpPr>
        <p:spPr bwMode="gray">
          <a:xfrm>
            <a:off x="443599" y="1714303"/>
            <a:ext cx="9008745" cy="4280925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dzienna terapia </a:t>
            </a:r>
            <a:r>
              <a:rPr lang="pl-PL" sz="2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hGH</a:t>
            </a: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obciążenie i zgodność z terapią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LAGH i mechanizm działan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Program kliniczny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awka i sposób podawania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Monitorowanie poziomów IGF-1</a:t>
            </a:r>
            <a:endParaRPr lang="pl-PL" sz="2400" b="1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37F2CF76-B9A1-ABFE-B78E-4A03CBF7E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848" y="6035183"/>
            <a:ext cx="3648584" cy="676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801084"/>
      </p:ext>
    </p:extLst>
  </p:cSld>
  <p:clrMapOvr>
    <a:masterClrMapping/>
  </p:clrMapOvr>
  <p:transition spd="slow"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D07E43FD-CFA5-2BB3-A593-EEA6ED5D2BD0}"/>
              </a:ext>
            </a:extLst>
          </p:cNvPr>
          <p:cNvSpPr txBox="1"/>
          <p:nvPr/>
        </p:nvSpPr>
        <p:spPr>
          <a:xfrm>
            <a:off x="6327933" y="3429000"/>
            <a:ext cx="5644326" cy="2007448"/>
          </a:xfrm>
          <a:prstGeom prst="rect">
            <a:avLst/>
          </a:prstGeom>
          <a:solidFill>
            <a:srgbClr val="C00000">
              <a:alpha val="18824"/>
            </a:srgbClr>
          </a:solidFill>
          <a:ln>
            <a:noFill/>
          </a:ln>
        </p:spPr>
        <p:txBody>
          <a:bodyPr wrap="square" lIns="91416" tIns="45708" rIns="91416" bIns="45708" anchor="t">
            <a:spAutoFit/>
          </a:bodyPr>
          <a:lstStyle/>
          <a:p>
            <a:pPr defTabSz="914126">
              <a:lnSpc>
                <a:spcPct val="95000"/>
              </a:lnSpc>
              <a:spcBef>
                <a:spcPts val="600"/>
              </a:spcBef>
              <a:defRPr/>
            </a:pPr>
            <a:r>
              <a:rPr lang="pl-PL" sz="1999" b="1" dirty="0">
                <a:solidFill>
                  <a:srgbClr val="C00000"/>
                </a:solidFill>
                <a:ea typeface="Times New Roman" panose="02020603050405020304" pitchFamily="18" charset="0"/>
                <a:cs typeface="Arial"/>
              </a:rPr>
              <a:t>Tempo wzrostu jest zbyt wolne</a:t>
            </a:r>
            <a:r>
              <a:rPr lang="pl-PL" sz="1999" b="1" dirty="0">
                <a:solidFill>
                  <a:srgbClr val="FF0000"/>
                </a:solidFill>
                <a:ea typeface="Times New Roman" panose="02020603050405020304" pitchFamily="18" charset="0"/>
                <a:cs typeface="Arial"/>
              </a:rPr>
              <a:t>?</a:t>
            </a:r>
            <a:r>
              <a:rPr lang="fr-FR" sz="1999" b="1" baseline="300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</a:t>
            </a:r>
            <a:endParaRPr lang="pl-PL" sz="1999" b="1" dirty="0">
              <a:solidFill>
                <a:srgbClr val="FF0000"/>
              </a:solidFill>
              <a:ea typeface="Times New Roman" panose="02020603050405020304" pitchFamily="18" charset="0"/>
              <a:cs typeface="Arial"/>
            </a:endParaRPr>
          </a:p>
          <a:p>
            <a:pPr marL="285750" indent="-285750" defTabSz="914126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pl-PL" sz="1799" dirty="0">
                <a:solidFill>
                  <a:srgbClr val="000000"/>
                </a:solidFill>
                <a:ea typeface="Times New Roman" panose="02020603050405020304" pitchFamily="18" charset="0"/>
                <a:cs typeface="Arial"/>
              </a:rPr>
              <a:t>Sprawdź, czy leczenie jest przestrzegane
Sprawdź, czy nie występują choroby współistniejące 
Sprawdź brak </a:t>
            </a:r>
            <a:r>
              <a:rPr lang="pl-PL" sz="1799" dirty="0" err="1">
                <a:solidFill>
                  <a:srgbClr val="000000"/>
                </a:solidFill>
                <a:ea typeface="Times New Roman" panose="02020603050405020304" pitchFamily="18" charset="0"/>
                <a:cs typeface="Arial"/>
              </a:rPr>
              <a:t>lipodystrofii</a:t>
            </a:r>
            <a:r>
              <a:rPr lang="pl-PL" sz="1799" dirty="0">
                <a:solidFill>
                  <a:srgbClr val="000000"/>
                </a:solidFill>
                <a:ea typeface="Times New Roman" panose="02020603050405020304" pitchFamily="18" charset="0"/>
                <a:cs typeface="Arial"/>
              </a:rPr>
              <a:t>
Zalecenie dotyczące zmiany dawki</a:t>
            </a:r>
            <a:endParaRPr lang="fr-FR" sz="1799" dirty="0">
              <a:solidFill>
                <a:srgbClr val="000000"/>
              </a:solidFill>
              <a:latin typeface="Arial"/>
              <a:ea typeface="Times New Roman" panose="02020603050405020304" pitchFamily="18" charset="0"/>
              <a:cs typeface="Arial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6E6AA03-5512-893D-5A50-91F510175CB4}"/>
              </a:ext>
            </a:extLst>
          </p:cNvPr>
          <p:cNvSpPr txBox="1"/>
          <p:nvPr/>
        </p:nvSpPr>
        <p:spPr>
          <a:xfrm>
            <a:off x="352436" y="1142748"/>
            <a:ext cx="5741975" cy="44603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defTabSz="914126">
              <a:lnSpc>
                <a:spcPct val="95000"/>
              </a:lnSpc>
              <a:spcBef>
                <a:spcPts val="600"/>
              </a:spcBef>
              <a:defRPr/>
            </a:pPr>
            <a:r>
              <a:rPr lang="pl-PL" sz="1999" b="1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ozpoczęcie leczenia</a:t>
            </a:r>
            <a:r>
              <a:rPr lang="fr-FR" sz="1999" b="1" baseline="300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,2</a:t>
            </a:r>
            <a:br>
              <a:rPr lang="pl-PL" sz="1999" b="1" baseline="300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fr-FR" sz="1999" b="1" baseline="30000" dirty="0">
              <a:solidFill>
                <a:srgbClr val="0070C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797" indent="-342797" defTabSz="914126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pl-PL" sz="1799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alecana dawka początkowa:  </a:t>
            </a:r>
            <a:br>
              <a:rPr lang="pl-PL" sz="1799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	</a:t>
            </a:r>
            <a:r>
              <a:rPr lang="pl-PL" sz="1799" b="1" u="sng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0,66 mg / kg / tydzień</a:t>
            </a:r>
          </a:p>
          <a:p>
            <a:pPr marL="799997" lvl="1" indent="-342797" defTabSz="914126">
              <a:lnSpc>
                <a:spcPct val="95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wkę można zaokrąglić w górę lub w dół
w zaokrągleniu do najbliższego mg</a:t>
            </a:r>
          </a:p>
          <a:p>
            <a:pPr marL="342797" indent="-342797" defTabSz="914126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pl-PL" sz="1799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danie leku: </a:t>
            </a:r>
            <a: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dskórnie, regularnie 1 x tydzień zalecana dawka o dowolnej porze w tym samym dniu tygodnia;
Pacjenci wcześniej nieleczeni i pacjenci zmieniający leczenie</a:t>
            </a:r>
          </a:p>
          <a:p>
            <a:pPr marL="342797" indent="-342797" defTabSz="914126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pl-PL" sz="1799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itch: </a:t>
            </a:r>
            <a: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Jeśli wcześniej był stosowany dzienny </a:t>
            </a:r>
            <a:r>
              <a:rPr lang="pl-PL" sz="1799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hGH</a:t>
            </a:r>
            <a: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to </a:t>
            </a:r>
            <a:r>
              <a:rPr lang="pl-PL" sz="1799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matrogon</a:t>
            </a:r>
            <a:r>
              <a:rPr lang="pl-PL" sz="1799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można podać dzień po ostatniej iniekcji;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C9FEDC5-333E-E73A-E067-B7AB3C8186CF}"/>
              </a:ext>
            </a:extLst>
          </p:cNvPr>
          <p:cNvSpPr txBox="1"/>
          <p:nvPr/>
        </p:nvSpPr>
        <p:spPr>
          <a:xfrm>
            <a:off x="352435" y="5715252"/>
            <a:ext cx="5741975" cy="618631"/>
          </a:xfrm>
          <a:prstGeom prst="rect">
            <a:avLst/>
          </a:prstGeom>
          <a:solidFill>
            <a:srgbClr val="4E8F00">
              <a:alpha val="18824"/>
            </a:srgbClr>
          </a:solidFill>
          <a:ln>
            <a:noFill/>
          </a:ln>
        </p:spPr>
        <p:txBody>
          <a:bodyPr wrap="square">
            <a:spAutoFit/>
          </a:bodyPr>
          <a:lstStyle/>
          <a:p>
            <a:pPr defTabSz="914126">
              <a:lnSpc>
                <a:spcPct val="95000"/>
              </a:lnSpc>
              <a:spcBef>
                <a:spcPts val="600"/>
              </a:spcBef>
              <a:defRPr/>
            </a:pPr>
            <a:r>
              <a:rPr lang="fr-FR" b="1" dirty="0" err="1">
                <a:solidFill>
                  <a:srgbClr val="4E8F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minięta</a:t>
            </a:r>
            <a:r>
              <a:rPr lang="fr-FR" b="1" dirty="0">
                <a:solidFill>
                  <a:srgbClr val="4E8F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rgbClr val="4E8F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wka</a:t>
            </a:r>
            <a:r>
              <a:rPr lang="fr-FR" b="1" dirty="0">
                <a:solidFill>
                  <a:srgbClr val="4E8F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</a:t>
            </a:r>
            <a:r>
              <a:rPr lang="fr-FR" b="1" dirty="0" err="1">
                <a:solidFill>
                  <a:srgbClr val="4E8F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miana</a:t>
            </a:r>
            <a:r>
              <a:rPr lang="fr-FR" b="1" dirty="0">
                <a:solidFill>
                  <a:srgbClr val="4E8F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nia</a:t>
            </a:r>
            <a:r>
              <a:rPr lang="fr-FR" b="1" baseline="300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</a:t>
            </a:r>
            <a:r>
              <a:rPr lang="pl-PL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pl-PL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 ciągu 72 h (3 dni) lub pomiń</a:t>
            </a:r>
            <a:endParaRPr lang="en-GB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ZoneTexte 8">
            <a:extLst>
              <a:ext uri="{FF2B5EF4-FFF2-40B4-BE49-F238E27FC236}">
                <a16:creationId xmlns:a16="http://schemas.microsoft.com/office/drawing/2014/main" id="{1A7E11EA-C0F3-0E76-181D-4CF25728BCA5}"/>
              </a:ext>
            </a:extLst>
          </p:cNvPr>
          <p:cNvSpPr txBox="1"/>
          <p:nvPr/>
        </p:nvSpPr>
        <p:spPr>
          <a:xfrm>
            <a:off x="6327933" y="5636157"/>
            <a:ext cx="5644326" cy="724557"/>
          </a:xfrm>
          <a:prstGeom prst="rect">
            <a:avLst/>
          </a:prstGeom>
          <a:solidFill>
            <a:srgbClr val="FF9300">
              <a:alpha val="18824"/>
            </a:srgb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lvl="0">
              <a:lnSpc>
                <a:spcPct val="150000"/>
              </a:lnSpc>
              <a:defRPr sz="2400" b="1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defTabSz="914126">
              <a:lnSpc>
                <a:spcPct val="95000"/>
              </a:lnSpc>
              <a:spcBef>
                <a:spcPts val="600"/>
              </a:spcBef>
              <a:defRPr/>
            </a:pPr>
            <a:r>
              <a:rPr lang="pl-PL" sz="1999" dirty="0">
                <a:solidFill>
                  <a:srgbClr val="FF9300"/>
                </a:solidFill>
              </a:rPr>
              <a:t>Wzrost jest normalny przy niskim IGF-1</a:t>
            </a:r>
            <a:r>
              <a:rPr lang="en-GB" sz="1999" baseline="30000" dirty="0">
                <a:solidFill>
                  <a:srgbClr val="FF9300"/>
                </a:solidFill>
              </a:rPr>
              <a:t>1</a:t>
            </a:r>
          </a:p>
          <a:p>
            <a:pPr marL="342797" indent="-342797" defTabSz="914126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799" b="0" dirty="0">
                <a:solidFill>
                  <a:srgbClr val="000000"/>
                </a:solidFill>
              </a:rPr>
              <a:t>Bez </a:t>
            </a:r>
            <a:r>
              <a:rPr lang="en-GB" sz="1799" b="0" dirty="0" err="1">
                <a:solidFill>
                  <a:srgbClr val="000000"/>
                </a:solidFill>
              </a:rPr>
              <a:t>zmian</a:t>
            </a:r>
            <a:endParaRPr lang="en-GB" sz="1799" b="0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F527B2-8858-4BB1-F0D2-A49A0BDD59B8}"/>
              </a:ext>
            </a:extLst>
          </p:cNvPr>
          <p:cNvSpPr txBox="1"/>
          <p:nvPr/>
        </p:nvSpPr>
        <p:spPr bwMode="gray">
          <a:xfrm>
            <a:off x="3669582" y="6415636"/>
            <a:ext cx="7954135" cy="33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>
              <a:defRPr/>
            </a:pPr>
            <a:r>
              <a:rPr lang="fr-FR" sz="800" dirty="0">
                <a:solidFill>
                  <a:srgbClr val="212121"/>
                </a:solidFill>
                <a:latin typeface="Arial" panose="020B0604020202020204"/>
              </a:rPr>
              <a:t>IGF-1, </a:t>
            </a:r>
            <a:r>
              <a:rPr lang="fr-FR" sz="800" dirty="0" err="1">
                <a:solidFill>
                  <a:srgbClr val="212121"/>
                </a:solidFill>
                <a:latin typeface="Arial" panose="020B0604020202020204"/>
              </a:rPr>
              <a:t>insulin</a:t>
            </a:r>
            <a:r>
              <a:rPr lang="fr-FR" sz="800" dirty="0">
                <a:solidFill>
                  <a:srgbClr val="212121"/>
                </a:solidFill>
                <a:latin typeface="Arial" panose="020B0604020202020204"/>
              </a:rPr>
              <a:t>-like </a:t>
            </a:r>
            <a:r>
              <a:rPr lang="fr-FR" sz="800" dirty="0" err="1">
                <a:solidFill>
                  <a:srgbClr val="212121"/>
                </a:solidFill>
                <a:latin typeface="Arial" panose="020B0604020202020204"/>
              </a:rPr>
              <a:t>growth</a:t>
            </a:r>
            <a:r>
              <a:rPr lang="fr-FR" sz="800" dirty="0">
                <a:solidFill>
                  <a:srgbClr val="212121"/>
                </a:solidFill>
                <a:latin typeface="Arial" panose="020B0604020202020204"/>
              </a:rPr>
              <a:t> factor 1. </a:t>
            </a:r>
            <a:br>
              <a:rPr lang="fr-FR" sz="800" dirty="0">
                <a:solidFill>
                  <a:srgbClr val="212121"/>
                </a:solidFill>
                <a:latin typeface="Arial" panose="020B0604020202020204"/>
              </a:rPr>
            </a:br>
            <a:r>
              <a:rPr lang="fr-FR" sz="800" dirty="0">
                <a:solidFill>
                  <a:srgbClr val="212121"/>
                </a:solidFill>
                <a:latin typeface="Arial" panose="020B0604020202020204"/>
              </a:rPr>
              <a:t>1. Linglart A, et al. </a:t>
            </a:r>
            <a:r>
              <a:rPr lang="fr-FR" sz="800" i="1" dirty="0">
                <a:solidFill>
                  <a:srgbClr val="212121"/>
                </a:solidFill>
                <a:latin typeface="Arial" panose="020B0604020202020204"/>
              </a:rPr>
              <a:t>Arch Pediatr</a:t>
            </a:r>
            <a:r>
              <a:rPr lang="fr-FR" sz="800" dirty="0">
                <a:solidFill>
                  <a:srgbClr val="212121"/>
                </a:solidFill>
                <a:latin typeface="Arial" panose="020B0604020202020204"/>
              </a:rPr>
              <a:t> 2024;31(6):357–364. 2.</a:t>
            </a:r>
            <a:r>
              <a:rPr lang="pl-PL" sz="800" dirty="0">
                <a:solidFill>
                  <a:srgbClr val="212121"/>
                </a:solidFill>
                <a:latin typeface="Arial" panose="020B0604020202020204"/>
              </a:rPr>
              <a:t> Charakterystyka Produktu Leczniczego </a:t>
            </a:r>
            <a:r>
              <a:rPr lang="pl-PL" sz="800" dirty="0" err="1">
                <a:solidFill>
                  <a:srgbClr val="212121"/>
                </a:solidFill>
                <a:latin typeface="Arial" panose="020B0604020202020204"/>
              </a:rPr>
              <a:t>Ngenla</a:t>
            </a:r>
            <a:r>
              <a:rPr lang="pl-PL" sz="800" dirty="0">
                <a:solidFill>
                  <a:srgbClr val="212121"/>
                </a:solidFill>
                <a:latin typeface="Arial" panose="020B0604020202020204"/>
              </a:rPr>
              <a:t> (</a:t>
            </a:r>
            <a:r>
              <a:rPr lang="pl-PL" sz="800" dirty="0" err="1">
                <a:solidFill>
                  <a:srgbClr val="212121"/>
                </a:solidFill>
                <a:latin typeface="Arial" panose="020B0604020202020204"/>
              </a:rPr>
              <a:t>somatrogon</a:t>
            </a:r>
            <a:r>
              <a:rPr lang="pl-PL" sz="800" dirty="0">
                <a:solidFill>
                  <a:srgbClr val="212121"/>
                </a:solidFill>
                <a:latin typeface="Arial" panose="020B0604020202020204"/>
              </a:rPr>
              <a:t>) 03/2024</a:t>
            </a:r>
            <a:r>
              <a:rPr lang="fr-FR" sz="800" dirty="0">
                <a:solidFill>
                  <a:srgbClr val="212121"/>
                </a:solidFill>
                <a:latin typeface="Arial" panose="020B0604020202020204"/>
              </a:rPr>
              <a:t> </a:t>
            </a:r>
            <a:r>
              <a:rPr lang="pl-PL" sz="800" dirty="0">
                <a:solidFill>
                  <a:srgbClr val="000000"/>
                </a:solidFill>
                <a:latin typeface="Arial" panose="020B0604020202020204"/>
              </a:rPr>
              <a:t> </a:t>
            </a:r>
            <a:endParaRPr lang="fr-FR" sz="8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0D24F4-7C67-C5EB-7026-B92D3490E60D}"/>
              </a:ext>
            </a:extLst>
          </p:cNvPr>
          <p:cNvSpPr txBox="1"/>
          <p:nvPr/>
        </p:nvSpPr>
        <p:spPr bwMode="gray">
          <a:xfrm>
            <a:off x="352436" y="103898"/>
            <a:ext cx="11950996" cy="823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pl-PL" sz="4750" b="1" i="0" u="none" strike="noStrike" kern="1200" cap="none" spc="-25" normalizeH="0" baseline="0" noProof="0" dirty="0" err="1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Pfizer Tomorrow"/>
                <a:ea typeface="+mj-ea"/>
                <a:cs typeface="+mj-cs"/>
              </a:rPr>
              <a:t>Somatrogon</a:t>
            </a:r>
            <a:r>
              <a:rPr kumimoji="0" lang="pl-PL" sz="4750" b="1" i="0" u="none" strike="noStrike" kern="1200" cap="none" spc="-25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Pfizer Tomorrow"/>
                <a:ea typeface="+mj-ea"/>
                <a:cs typeface="+mj-cs"/>
              </a:rPr>
              <a:t>: dawka oraz jej dostosowanie</a:t>
            </a:r>
            <a:endParaRPr lang="en-US" dirty="0"/>
          </a:p>
        </p:txBody>
      </p:sp>
      <p:sp>
        <p:nvSpPr>
          <p:cNvPr id="16" name="ZoneTexte 8">
            <a:extLst>
              <a:ext uri="{FF2B5EF4-FFF2-40B4-BE49-F238E27FC236}">
                <a16:creationId xmlns:a16="http://schemas.microsoft.com/office/drawing/2014/main" id="{818BF4EE-DA26-5223-D8BE-95D4C8665D2A}"/>
              </a:ext>
            </a:extLst>
          </p:cNvPr>
          <p:cNvSpPr txBox="1"/>
          <p:nvPr/>
        </p:nvSpPr>
        <p:spPr>
          <a:xfrm>
            <a:off x="6327933" y="1126909"/>
            <a:ext cx="5644327" cy="2194447"/>
          </a:xfrm>
          <a:prstGeom prst="rect">
            <a:avLst/>
          </a:prstGeom>
          <a:solidFill>
            <a:srgbClr val="FF9300">
              <a:alpha val="18824"/>
            </a:srgb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lvl="0">
              <a:lnSpc>
                <a:spcPct val="150000"/>
              </a:lnSpc>
              <a:defRPr sz="2400" b="1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defTabSz="914126">
              <a:lnSpc>
                <a:spcPct val="95000"/>
              </a:lnSpc>
              <a:spcBef>
                <a:spcPts val="600"/>
              </a:spcBef>
              <a:defRPr/>
            </a:pPr>
            <a:r>
              <a:rPr lang="pl-PL" sz="2000" b="1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Monitorowanie leczenia</a:t>
            </a:r>
            <a:endParaRPr lang="en-GB" sz="1999" baseline="30000" dirty="0">
              <a:solidFill>
                <a:schemeClr val="accent6">
                  <a:lumMod val="75000"/>
                </a:schemeClr>
              </a:solidFill>
            </a:endParaRPr>
          </a:p>
          <a:p>
            <a:pPr marL="342797" indent="-342797" defTabSz="914126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pl-PL" sz="1800" b="0" dirty="0">
                <a:solidFill>
                  <a:srgbClr val="000000"/>
                </a:solidFill>
              </a:rPr>
              <a:t>ocena stężenia IGF-1 w 4 dniu (-1) po podaniu leku</a:t>
            </a:r>
          </a:p>
          <a:p>
            <a:pPr marL="799997" lvl="1" indent="-342797" defTabSz="914126">
              <a:lnSpc>
                <a:spcPct val="95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pl-PL" b="0" dirty="0">
                <a:solidFill>
                  <a:srgbClr val="000000"/>
                </a:solidFill>
              </a:rPr>
              <a:t>Jeśli IGF-1 przekracza +2 SD, dawkę można zmniejszyć o 15%; dawkę można zmniejszać wielokrotnie, jeśli zachodzi taka potrzeba;</a:t>
            </a:r>
          </a:p>
          <a:p>
            <a:pPr lvl="1" defTabSz="914126">
              <a:lnSpc>
                <a:spcPct val="95000"/>
              </a:lnSpc>
              <a:spcBef>
                <a:spcPts val="600"/>
              </a:spcBef>
              <a:defRPr/>
            </a:pPr>
            <a:endParaRPr lang="pl-PL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13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101A38F-0F30-69C2-8413-F6D8B1B3F6F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87630" y="365273"/>
            <a:ext cx="11613563" cy="510226"/>
          </a:xfrm>
        </p:spPr>
        <p:txBody>
          <a:bodyPr/>
          <a:lstStyle/>
          <a:p>
            <a:r>
              <a:rPr lang="pl-PL" dirty="0">
                <a:solidFill>
                  <a:schemeClr val="accent1">
                    <a:lumMod val="50000"/>
                  </a:schemeClr>
                </a:solidFill>
              </a:rPr>
              <a:t>Praktyczne instrukcje dotyczące stosowania cotygodniowego </a:t>
            </a:r>
            <a:r>
              <a:rPr lang="pl-PL" dirty="0" err="1">
                <a:solidFill>
                  <a:schemeClr val="accent1">
                    <a:lumMod val="50000"/>
                  </a:schemeClr>
                </a:solidFill>
              </a:rPr>
              <a:t>Somatrogonu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D62115-CD01-71DB-E213-3ACCC268D7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0068" y="1051028"/>
            <a:ext cx="4001209" cy="521672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BD5C0C-2804-27AE-110A-D4A3650F0DB9}"/>
              </a:ext>
            </a:extLst>
          </p:cNvPr>
          <p:cNvSpPr txBox="1">
            <a:spLocks/>
          </p:cNvSpPr>
          <p:nvPr/>
        </p:nvSpPr>
        <p:spPr bwMode="gray">
          <a:xfrm>
            <a:off x="609441" y="2314485"/>
            <a:ext cx="5760516" cy="4115077"/>
          </a:xfrm>
          <a:prstGeom prst="rect">
            <a:avLst/>
          </a:prstGeom>
        </p:spPr>
        <p:txBody>
          <a:bodyPr vert="horz" wrap="square" lIns="91416" tIns="45708" rIns="91416" bIns="45708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914126">
              <a:spcBef>
                <a:spcPts val="1200"/>
              </a:spcBef>
              <a:buClr>
                <a:srgbClr val="0095FF"/>
              </a:buClr>
              <a:buNone/>
              <a:defRPr/>
            </a:pPr>
            <a:r>
              <a:rPr lang="pl-PL" sz="1999" dirty="0">
                <a:solidFill>
                  <a:srgbClr val="000000"/>
                </a:solidFill>
              </a:rPr>
              <a:t>Zalecana dawka – 0,66 mg / kg / tydzień</a:t>
            </a:r>
          </a:p>
          <a:p>
            <a:pPr lvl="1" algn="just" defTabSz="914126">
              <a:spcBef>
                <a:spcPts val="1200"/>
              </a:spcBef>
              <a:buClr>
                <a:srgbClr val="0095FF"/>
              </a:buClr>
              <a:buFont typeface="Arial" panose="020B0604020202020204" pitchFamily="34" charset="0"/>
              <a:buChar char="•"/>
              <a:defRPr/>
            </a:pPr>
            <a:r>
              <a:rPr lang="pl-PL" sz="1599" dirty="0" err="1">
                <a:solidFill>
                  <a:srgbClr val="000000"/>
                </a:solidFill>
              </a:rPr>
              <a:t>Wstrzykiwacz</a:t>
            </a:r>
            <a:r>
              <a:rPr lang="pl-PL" sz="1599" dirty="0">
                <a:solidFill>
                  <a:srgbClr val="000000"/>
                </a:solidFill>
              </a:rPr>
              <a:t> </a:t>
            </a:r>
            <a:r>
              <a:rPr lang="pl-PL" sz="1599" b="1" dirty="0">
                <a:solidFill>
                  <a:schemeClr val="accent1"/>
                </a:solidFill>
              </a:rPr>
              <a:t>60 mg </a:t>
            </a:r>
            <a:r>
              <a:rPr lang="pl-PL" sz="1599" dirty="0">
                <a:solidFill>
                  <a:srgbClr val="000000"/>
                </a:solidFill>
              </a:rPr>
              <a:t>umożliwia gradację 0,5 mg
</a:t>
            </a:r>
            <a:r>
              <a:rPr lang="pl-PL" sz="1599" dirty="0" err="1">
                <a:solidFill>
                  <a:srgbClr val="000000"/>
                </a:solidFill>
              </a:rPr>
              <a:t>Wstrzykiwacz</a:t>
            </a:r>
            <a:r>
              <a:rPr lang="pl-PL" sz="1599" dirty="0">
                <a:solidFill>
                  <a:srgbClr val="000000"/>
                </a:solidFill>
              </a:rPr>
              <a:t> </a:t>
            </a:r>
            <a:r>
              <a:rPr lang="pl-PL" sz="1599" b="1" dirty="0">
                <a:solidFill>
                  <a:srgbClr val="CC99FF"/>
                </a:solidFill>
              </a:rPr>
              <a:t>24 mg </a:t>
            </a:r>
            <a:r>
              <a:rPr lang="pl-PL" sz="1599" dirty="0">
                <a:solidFill>
                  <a:srgbClr val="000000"/>
                </a:solidFill>
              </a:rPr>
              <a:t>umożliwia podziałkę 0,2 mg</a:t>
            </a:r>
            <a:endParaRPr lang="pl-PL" sz="1399" dirty="0">
              <a:solidFill>
                <a:srgbClr val="000000"/>
              </a:solidFill>
              <a:latin typeface="Arial" panose="020B0604020202020204"/>
            </a:endParaRPr>
          </a:p>
          <a:p>
            <a:pPr marL="457200" lvl="1" indent="0" algn="just" defTabSz="914126">
              <a:spcBef>
                <a:spcPts val="1200"/>
              </a:spcBef>
              <a:buClr>
                <a:srgbClr val="0095FF"/>
              </a:buClr>
              <a:buNone/>
              <a:defRPr/>
            </a:pPr>
            <a:endParaRPr lang="pl-PL" sz="1399" dirty="0">
              <a:solidFill>
                <a:srgbClr val="000000"/>
              </a:solidFill>
              <a:latin typeface="Arial" panose="020B0604020202020204"/>
            </a:endParaRPr>
          </a:p>
          <a:p>
            <a:pPr marL="457200" lvl="1" indent="0" algn="just" defTabSz="914126">
              <a:spcBef>
                <a:spcPts val="1200"/>
              </a:spcBef>
              <a:buClr>
                <a:srgbClr val="0095FF"/>
              </a:buClr>
              <a:buNone/>
              <a:defRPr/>
            </a:pPr>
            <a:r>
              <a:rPr lang="en-US" sz="1999" dirty="0" err="1">
                <a:solidFill>
                  <a:srgbClr val="000000"/>
                </a:solidFill>
              </a:rPr>
              <a:t>Zwiększanie</a:t>
            </a:r>
            <a:r>
              <a:rPr lang="en-US" sz="1999" dirty="0">
                <a:solidFill>
                  <a:srgbClr val="000000"/>
                </a:solidFill>
              </a:rPr>
              <a:t> </a:t>
            </a:r>
            <a:r>
              <a:rPr lang="en-US" sz="1999" dirty="0" err="1">
                <a:solidFill>
                  <a:srgbClr val="000000"/>
                </a:solidFill>
              </a:rPr>
              <a:t>dawki</a:t>
            </a:r>
            <a:endParaRPr lang="pl-PL" sz="1999" dirty="0">
              <a:solidFill>
                <a:srgbClr val="000000"/>
              </a:solidFill>
            </a:endParaRPr>
          </a:p>
          <a:p>
            <a:pPr marL="457200" lvl="1" indent="0" algn="just" defTabSz="914126">
              <a:spcBef>
                <a:spcPts val="1200"/>
              </a:spcBef>
              <a:buClr>
                <a:srgbClr val="0095FF"/>
              </a:buClr>
              <a:buNone/>
              <a:defRPr/>
            </a:pPr>
            <a:r>
              <a:rPr lang="pl-PL" sz="1399" dirty="0">
                <a:solidFill>
                  <a:srgbClr val="000000"/>
                </a:solidFill>
              </a:rPr>
              <a:t>Dawka </a:t>
            </a:r>
            <a:r>
              <a:rPr lang="pl-PL" sz="1399" dirty="0" err="1">
                <a:solidFill>
                  <a:srgbClr val="000000"/>
                </a:solidFill>
              </a:rPr>
              <a:t>Somatrogonu</a:t>
            </a:r>
            <a:r>
              <a:rPr lang="pl-PL" sz="1399" dirty="0">
                <a:solidFill>
                  <a:srgbClr val="000000"/>
                </a:solidFill>
              </a:rPr>
              <a:t> może być dostosowana w zależności od:</a:t>
            </a:r>
          </a:p>
          <a:p>
            <a:pPr lvl="1" algn="just" defTabSz="914126">
              <a:spcBef>
                <a:spcPts val="1200"/>
              </a:spcBef>
              <a:buClr>
                <a:srgbClr val="0095FF"/>
              </a:buClr>
              <a:buFont typeface="Arial" panose="020B0604020202020204" pitchFamily="34" charset="0"/>
              <a:buChar char="•"/>
              <a:defRPr/>
            </a:pPr>
            <a:r>
              <a:rPr lang="pl-PL" sz="1399" dirty="0">
                <a:solidFill>
                  <a:srgbClr val="000000"/>
                </a:solidFill>
              </a:rPr>
              <a:t>potrzeb,</a:t>
            </a:r>
          </a:p>
          <a:p>
            <a:pPr lvl="1" algn="just" defTabSz="914126">
              <a:spcBef>
                <a:spcPts val="1200"/>
              </a:spcBef>
              <a:buClr>
                <a:srgbClr val="0095FF"/>
              </a:buClr>
              <a:buFont typeface="Arial" panose="020B0604020202020204" pitchFamily="34" charset="0"/>
              <a:buChar char="•"/>
              <a:defRPr/>
            </a:pPr>
            <a:r>
              <a:rPr lang="pl-PL" sz="1399" dirty="0">
                <a:solidFill>
                  <a:srgbClr val="000000"/>
                </a:solidFill>
              </a:rPr>
              <a:t>od tempa wzrostu, </a:t>
            </a:r>
          </a:p>
          <a:p>
            <a:pPr lvl="1" algn="just" defTabSz="914126">
              <a:spcBef>
                <a:spcPts val="1200"/>
              </a:spcBef>
              <a:buClr>
                <a:srgbClr val="0095FF"/>
              </a:buClr>
              <a:buFont typeface="Arial" panose="020B0604020202020204" pitchFamily="34" charset="0"/>
              <a:buChar char="•"/>
              <a:defRPr/>
            </a:pPr>
            <a:r>
              <a:rPr lang="pl-PL" sz="1399" dirty="0">
                <a:solidFill>
                  <a:srgbClr val="000000"/>
                </a:solidFill>
              </a:rPr>
              <a:t>działań niepożądanych, </a:t>
            </a:r>
          </a:p>
          <a:p>
            <a:pPr lvl="1" algn="just" defTabSz="914126">
              <a:spcBef>
                <a:spcPts val="1200"/>
              </a:spcBef>
              <a:buClr>
                <a:srgbClr val="0095FF"/>
              </a:buClr>
              <a:buFont typeface="Arial" panose="020B0604020202020204" pitchFamily="34" charset="0"/>
              <a:buChar char="•"/>
              <a:defRPr/>
            </a:pPr>
            <a:r>
              <a:rPr lang="pl-PL" sz="1399" dirty="0">
                <a:solidFill>
                  <a:srgbClr val="000000"/>
                </a:solidFill>
              </a:rPr>
              <a:t>masy ciała</a:t>
            </a:r>
          </a:p>
          <a:p>
            <a:pPr lvl="1" algn="just" defTabSz="914126">
              <a:spcBef>
                <a:spcPts val="1200"/>
              </a:spcBef>
              <a:buClr>
                <a:srgbClr val="0095FF"/>
              </a:buClr>
              <a:buFont typeface="Arial" panose="020B0604020202020204" pitchFamily="34" charset="0"/>
              <a:buChar char="•"/>
              <a:defRPr/>
            </a:pPr>
            <a:r>
              <a:rPr lang="pl-PL" sz="1399" dirty="0">
                <a:solidFill>
                  <a:srgbClr val="000000"/>
                </a:solidFill>
              </a:rPr>
              <a:t>stężenia IGF-1 w surowicy</a:t>
            </a:r>
            <a:endParaRPr lang="en-GB" sz="1399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28C29E-B6E3-33EC-FE08-9ED9D3ED396D}"/>
              </a:ext>
            </a:extLst>
          </p:cNvPr>
          <p:cNvSpPr txBox="1"/>
          <p:nvPr/>
        </p:nvSpPr>
        <p:spPr bwMode="gray">
          <a:xfrm>
            <a:off x="609440" y="1351775"/>
            <a:ext cx="2798917" cy="71066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Dawkowanie</a:t>
            </a:r>
            <a:endParaRPr lang="nl-NL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9B4F010-EFA2-1EFA-002A-695BAC61BF69}"/>
              </a:ext>
            </a:extLst>
          </p:cNvPr>
          <p:cNvSpPr txBox="1">
            <a:spLocks/>
          </p:cNvSpPr>
          <p:nvPr/>
        </p:nvSpPr>
        <p:spPr>
          <a:xfrm>
            <a:off x="3828237" y="6267748"/>
            <a:ext cx="6972533" cy="380625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IGF-1 = insulinopodobny czynnik wzrostu-1 1. 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Ngenla</a:t>
            </a:r>
            <a:r>
              <a:rPr lang="pl-PL" sz="800" dirty="0">
                <a:solidFill>
                  <a:srgbClr val="000000"/>
                </a:solidFill>
              </a:rPr>
              <a:t> (</a:t>
            </a:r>
            <a:r>
              <a:rPr lang="pl-PL" sz="800" dirty="0" err="1">
                <a:solidFill>
                  <a:srgbClr val="000000"/>
                </a:solidFill>
              </a:rPr>
              <a:t>somatrogon</a:t>
            </a:r>
            <a:r>
              <a:rPr lang="pl-PL" sz="800" dirty="0">
                <a:solidFill>
                  <a:srgbClr val="000000"/>
                </a:solidFill>
              </a:rPr>
              <a:t>), 03/2024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29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B4A307D-E1AC-9F5C-AF63-A7F5EF4ECDDD}"/>
              </a:ext>
            </a:extLst>
          </p:cNvPr>
          <p:cNvSpPr txBox="1"/>
          <p:nvPr/>
        </p:nvSpPr>
        <p:spPr bwMode="gray">
          <a:xfrm>
            <a:off x="647030" y="1978713"/>
            <a:ext cx="2926825" cy="4031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endParaRPr lang="nl-NL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graphicFrame>
        <p:nvGraphicFramePr>
          <p:cNvPr id="6" name="Table 10">
            <a:extLst>
              <a:ext uri="{FF2B5EF4-FFF2-40B4-BE49-F238E27FC236}">
                <a16:creationId xmlns:a16="http://schemas.microsoft.com/office/drawing/2014/main" id="{AECD892D-39B8-9690-07E9-45A55534A1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8765498"/>
              </p:ext>
            </p:extLst>
          </p:nvPr>
        </p:nvGraphicFramePr>
        <p:xfrm>
          <a:off x="3718960" y="1283368"/>
          <a:ext cx="7974057" cy="472721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39151">
                  <a:extLst>
                    <a:ext uri="{9D8B030D-6E8A-4147-A177-3AD203B41FA5}">
                      <a16:colId xmlns:a16="http://schemas.microsoft.com/office/drawing/2014/main" val="3062953218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2207359640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3700199948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137819399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36917941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2755427696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567545962"/>
                    </a:ext>
                  </a:extLst>
                </a:gridCol>
              </a:tblGrid>
              <a:tr h="435568"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NIEDZ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PON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WT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ŚR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CZW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PT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SOB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7568986"/>
                  </a:ext>
                </a:extLst>
              </a:tr>
              <a:tr h="858330"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64643"/>
                  </a:ext>
                </a:extLst>
              </a:tr>
              <a:tr h="858330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118622"/>
                  </a:ext>
                </a:extLst>
              </a:tr>
              <a:tr h="858330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139655"/>
                  </a:ext>
                </a:extLst>
              </a:tr>
              <a:tr h="858330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677665"/>
                  </a:ext>
                </a:extLst>
              </a:tr>
              <a:tr h="858330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74660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94D04B4-BB44-2881-D817-D7CC3998EE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221837" y="2155633"/>
            <a:ext cx="775207" cy="1592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7DF6D8D-EC5A-35BC-8B9D-9D51F45EFD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197261" y="2962515"/>
            <a:ext cx="775207" cy="15926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8BAF7E-245B-F86F-DB6F-1C7CEEB21C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9604663" y="3860577"/>
            <a:ext cx="775207" cy="1592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3837DFF-29F0-DB69-BD48-363F9F3534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180011" y="4700952"/>
            <a:ext cx="775207" cy="1592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5D6151-BDFC-0E3C-C967-4EF0ED2901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197262" y="5584026"/>
            <a:ext cx="775207" cy="159263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7EAAF85-6CBC-25A1-F395-E39250BC0797}"/>
              </a:ext>
            </a:extLst>
          </p:cNvPr>
          <p:cNvCxnSpPr>
            <a:cxnSpLocks/>
          </p:cNvCxnSpPr>
          <p:nvPr/>
        </p:nvCxnSpPr>
        <p:spPr>
          <a:xfrm>
            <a:off x="7276793" y="3883456"/>
            <a:ext cx="2319085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218560E-AD45-8CDE-BE0C-E13110D67771}"/>
              </a:ext>
            </a:extLst>
          </p:cNvPr>
          <p:cNvSpPr txBox="1"/>
          <p:nvPr/>
        </p:nvSpPr>
        <p:spPr>
          <a:xfrm>
            <a:off x="5953503" y="3664805"/>
            <a:ext cx="1228221" cy="5632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126">
              <a:lnSpc>
                <a:spcPct val="90000"/>
              </a:lnSpc>
              <a:defRPr/>
            </a:pPr>
            <a:r>
              <a:rPr lang="pl-PL" sz="1700" b="1" dirty="0">
                <a:solidFill>
                  <a:srgbClr val="0095FF"/>
                </a:solidFill>
                <a:latin typeface="Arial" panose="020B0604020202020204"/>
              </a:rPr>
              <a:t>Pominięta</a:t>
            </a:r>
          </a:p>
          <a:p>
            <a:pPr algn="ctr" defTabSz="914126">
              <a:lnSpc>
                <a:spcPct val="90000"/>
              </a:lnSpc>
              <a:defRPr/>
            </a:pPr>
            <a:r>
              <a:rPr lang="pl-PL" sz="1700" b="1" dirty="0">
                <a:solidFill>
                  <a:srgbClr val="0095FF"/>
                </a:solidFill>
                <a:latin typeface="Arial" panose="020B0604020202020204"/>
              </a:rPr>
              <a:t>dawka</a:t>
            </a:r>
            <a:endParaRPr lang="en-US" sz="1700" b="1" dirty="0">
              <a:solidFill>
                <a:srgbClr val="0095FF"/>
              </a:solidFill>
              <a:latin typeface="Arial" panose="020B06040202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6528DF-B00D-7249-2840-0DCEE25B644D}"/>
              </a:ext>
            </a:extLst>
          </p:cNvPr>
          <p:cNvSpPr txBox="1"/>
          <p:nvPr/>
        </p:nvSpPr>
        <p:spPr>
          <a:xfrm>
            <a:off x="695844" y="2037909"/>
            <a:ext cx="2798916" cy="40318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pl-PL" sz="1600" dirty="0">
                <a:solidFill>
                  <a:srgbClr val="0000C9"/>
                </a:solidFill>
              </a:rPr>
              <a:t>W przypadku pominięcia dawki, </a:t>
            </a:r>
            <a:r>
              <a:rPr lang="pl-PL" sz="1600" b="1" dirty="0" err="1">
                <a:solidFill>
                  <a:srgbClr val="0000C9"/>
                </a:solidFill>
              </a:rPr>
              <a:t>Somatrogon</a:t>
            </a:r>
            <a:r>
              <a:rPr lang="pl-PL" sz="1600" b="1" dirty="0">
                <a:solidFill>
                  <a:srgbClr val="0000C9"/>
                </a:solidFill>
              </a:rPr>
              <a:t> należy podać tak szybko, jak to możliwe, w ciągu 3 dni po pominiętej dawce</a:t>
            </a:r>
            <a:r>
              <a:rPr lang="pl-PL" sz="1600" dirty="0">
                <a:solidFill>
                  <a:srgbClr val="0000C9"/>
                </a:solidFill>
              </a:rPr>
              <a:t>, a następnie należy kontynuować regularny tygodniowy schemat dawkowania.</a:t>
            </a:r>
          </a:p>
          <a:p>
            <a:pPr defTabSz="914126">
              <a:defRPr/>
            </a:pPr>
            <a:r>
              <a:rPr lang="pl-PL" sz="1600" dirty="0">
                <a:solidFill>
                  <a:srgbClr val="0000C9"/>
                </a:solidFill>
              </a:rPr>
              <a:t> 
</a:t>
            </a:r>
            <a:r>
              <a:rPr lang="pl-PL" sz="1600" b="1" dirty="0">
                <a:solidFill>
                  <a:srgbClr val="0000C9"/>
                </a:solidFill>
              </a:rPr>
              <a:t>Jeśli upłynęło więcej niż 3 dni, dawkę należy pominąć 
definitywnie, a kolejna dawka powinna być podana w regularnie zaplanowanym dniu.</a:t>
            </a:r>
            <a:endParaRPr lang="en-GB" sz="1600" b="1" i="1" dirty="0">
              <a:solidFill>
                <a:srgbClr val="0000C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B155BE-4694-9136-2650-3640F04A34D3}"/>
              </a:ext>
            </a:extLst>
          </p:cNvPr>
          <p:cNvSpPr txBox="1"/>
          <p:nvPr/>
        </p:nvSpPr>
        <p:spPr bwMode="gray">
          <a:xfrm>
            <a:off x="647031" y="1283369"/>
            <a:ext cx="2926824" cy="71066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Pominięta</a:t>
            </a:r>
            <a:r>
              <a:rPr lang="en-US" sz="1999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dawka</a:t>
            </a:r>
            <a:endParaRPr lang="nl-NL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1D2B4C7-027C-B918-C088-FBC281CAFC08}"/>
              </a:ext>
            </a:extLst>
          </p:cNvPr>
          <p:cNvSpPr txBox="1">
            <a:spLocks/>
          </p:cNvSpPr>
          <p:nvPr/>
        </p:nvSpPr>
        <p:spPr bwMode="gray">
          <a:xfrm>
            <a:off x="493974" y="531565"/>
            <a:ext cx="11602546" cy="510226"/>
          </a:xfrm>
          <a:prstGeom prst="rect">
            <a:avLst/>
          </a:prstGeom>
        </p:spPr>
        <p:txBody>
          <a:bodyPr vert="horz" lIns="0" tIns="45708" rIns="0" bIns="45708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26">
              <a:defRPr/>
            </a:pPr>
            <a:r>
              <a:rPr lang="pl-PL" sz="2699" dirty="0">
                <a:solidFill>
                  <a:srgbClr val="0000C9">
                    <a:lumMod val="50000"/>
                  </a:srgbClr>
                </a:solidFill>
              </a:rPr>
              <a:t>Praktyczne instrukcje dotyczące stosowania cotygodniowego </a:t>
            </a:r>
            <a:r>
              <a:rPr lang="pl-PL" sz="2699" dirty="0" err="1">
                <a:solidFill>
                  <a:srgbClr val="0000C9">
                    <a:lumMod val="50000"/>
                  </a:srgbClr>
                </a:solidFill>
              </a:rPr>
              <a:t>Somatrogonu</a:t>
            </a:r>
            <a:endParaRPr lang="el-GR" sz="2699" dirty="0">
              <a:solidFill>
                <a:srgbClr val="0000C9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F0A7D7-9187-5368-48B6-B2E3DD603DF2}"/>
              </a:ext>
            </a:extLst>
          </p:cNvPr>
          <p:cNvSpPr txBox="1">
            <a:spLocks/>
          </p:cNvSpPr>
          <p:nvPr/>
        </p:nvSpPr>
        <p:spPr>
          <a:xfrm>
            <a:off x="3929791" y="6404546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Ngenla</a:t>
            </a:r>
            <a:r>
              <a:rPr lang="pl-PL" sz="800" dirty="0">
                <a:solidFill>
                  <a:srgbClr val="000000"/>
                </a:solidFill>
              </a:rPr>
              <a:t> (</a:t>
            </a:r>
            <a:r>
              <a:rPr lang="pl-PL" sz="800" dirty="0" err="1">
                <a:solidFill>
                  <a:srgbClr val="000000"/>
                </a:solidFill>
              </a:rPr>
              <a:t>somatrogon</a:t>
            </a:r>
            <a:r>
              <a:rPr lang="pl-PL" sz="800" dirty="0">
                <a:solidFill>
                  <a:srgbClr val="000000"/>
                </a:solidFill>
              </a:rPr>
              <a:t>), 03/2024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89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166C6A0-5DDA-9DBC-DE99-7D0A9E77C606}"/>
              </a:ext>
            </a:extLst>
          </p:cNvPr>
          <p:cNvSpPr txBox="1"/>
          <p:nvPr/>
        </p:nvSpPr>
        <p:spPr bwMode="gray">
          <a:xfrm>
            <a:off x="600971" y="2086751"/>
            <a:ext cx="2798917" cy="38569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endParaRPr lang="nl-NL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E04007-E8EC-E2D9-7ED1-4D9E5271CDB6}"/>
              </a:ext>
            </a:extLst>
          </p:cNvPr>
          <p:cNvSpPr txBox="1"/>
          <p:nvPr/>
        </p:nvSpPr>
        <p:spPr>
          <a:xfrm>
            <a:off x="649599" y="2143203"/>
            <a:ext cx="2691461" cy="35394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pl-PL" sz="1600" i="1" dirty="0">
                <a:solidFill>
                  <a:srgbClr val="0000C9"/>
                </a:solidFill>
                <a:latin typeface="arial" panose="020B0604020202020204" pitchFamily="34" charset="0"/>
              </a:rPr>
              <a:t>„Dzień cotygodniowego podawania może zostać zmieniony w razie potrzeby, </a:t>
            </a:r>
            <a:r>
              <a:rPr lang="pl-PL" sz="1600" b="1" i="1" dirty="0">
                <a:solidFill>
                  <a:srgbClr val="0000C9"/>
                </a:solidFill>
                <a:latin typeface="arial" panose="020B0604020202020204" pitchFamily="34" charset="0"/>
              </a:rPr>
              <a:t>o ile istnieją co najmniej 3 dni między dwiema dawkami.</a:t>
            </a:r>
            <a:r>
              <a:rPr lang="pl-PL" sz="1600" i="1" dirty="0">
                <a:solidFill>
                  <a:srgbClr val="0000C9"/>
                </a:solidFill>
                <a:latin typeface="arial" panose="020B0604020202020204" pitchFamily="34" charset="0"/>
              </a:rPr>
              <a:t> Po wybraniu nowego dnia dawkowania, Dawkowanie należy kontynuować raz w tygodniu.”</a:t>
            </a:r>
          </a:p>
          <a:p>
            <a:pPr defTabSz="914126">
              <a:defRPr/>
            </a:pPr>
            <a:endParaRPr lang="en-US" sz="1600" dirty="0">
              <a:solidFill>
                <a:srgbClr val="0000C9"/>
              </a:solidFill>
              <a:latin typeface="arial" panose="020B0604020202020204" pitchFamily="34" charset="0"/>
            </a:endParaRPr>
          </a:p>
          <a:p>
            <a:pPr defTabSz="914126">
              <a:defRPr/>
            </a:pPr>
            <a:r>
              <a:rPr lang="pl-PL" sz="1600" b="1" dirty="0">
                <a:solidFill>
                  <a:srgbClr val="0095FF"/>
                </a:solidFill>
                <a:latin typeface="arial" panose="020B0604020202020204" pitchFamily="34" charset="0"/>
              </a:rPr>
              <a:t>Pacjent ten zmienia dzień dawkowania z wtorku na sobotę</a:t>
            </a:r>
            <a:endParaRPr lang="en-US" sz="1600" b="1" dirty="0">
              <a:solidFill>
                <a:srgbClr val="0095FF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761B6E-3AF9-0113-1753-8BA6BD8A792E}"/>
              </a:ext>
            </a:extLst>
          </p:cNvPr>
          <p:cNvSpPr txBox="1"/>
          <p:nvPr/>
        </p:nvSpPr>
        <p:spPr bwMode="gray">
          <a:xfrm>
            <a:off x="600971" y="1391406"/>
            <a:ext cx="2798917" cy="71066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Zmiana</a:t>
            </a:r>
            <a:r>
              <a:rPr lang="en-US" sz="1999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dnia</a:t>
            </a:r>
            <a:r>
              <a:rPr lang="en-US" sz="1999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dawkowania</a:t>
            </a:r>
            <a:endParaRPr lang="el-GR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graphicFrame>
        <p:nvGraphicFramePr>
          <p:cNvPr id="8" name="Table 10">
            <a:extLst>
              <a:ext uri="{FF2B5EF4-FFF2-40B4-BE49-F238E27FC236}">
                <a16:creationId xmlns:a16="http://schemas.microsoft.com/office/drawing/2014/main" id="{6E820E45-FD0E-1EA7-E829-DC71C29AB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2626145"/>
              </p:ext>
            </p:extLst>
          </p:nvPr>
        </p:nvGraphicFramePr>
        <p:xfrm>
          <a:off x="3718960" y="1391406"/>
          <a:ext cx="7974057" cy="455231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39151">
                  <a:extLst>
                    <a:ext uri="{9D8B030D-6E8A-4147-A177-3AD203B41FA5}">
                      <a16:colId xmlns:a16="http://schemas.microsoft.com/office/drawing/2014/main" val="3062953218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2207359640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3700199948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137819399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36917941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2755427696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567545962"/>
                    </a:ext>
                  </a:extLst>
                </a:gridCol>
              </a:tblGrid>
              <a:tr h="419452"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NIEDZ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PON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WT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ŚR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CZW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PT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SOB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7568986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64643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118622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139655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677665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746606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BE8E995-650E-7101-F6A8-A307D6969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227232" y="2174073"/>
            <a:ext cx="775207" cy="1592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7A53FF5-809B-9D9A-0FEE-B5D7AB5DD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227232" y="2990972"/>
            <a:ext cx="775207" cy="159263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98E928F-7568-8861-0AE5-147D96A261F8}"/>
              </a:ext>
            </a:extLst>
          </p:cNvPr>
          <p:cNvCxnSpPr>
            <a:cxnSpLocks/>
          </p:cNvCxnSpPr>
          <p:nvPr/>
        </p:nvCxnSpPr>
        <p:spPr>
          <a:xfrm>
            <a:off x="7639905" y="3054569"/>
            <a:ext cx="2319085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9A992A8C-56FC-85AE-83B4-5CC9D1DD2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10756226" y="2990972"/>
            <a:ext cx="775207" cy="1592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7F0F4E7-AE72-EC8E-6B03-76E7227AB4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10756226" y="3857133"/>
            <a:ext cx="775207" cy="1592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C7D72A9-5BE8-B9EC-FCE1-CB9B68797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10756224" y="4670168"/>
            <a:ext cx="775207" cy="159263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8D9479E3-8926-AB08-D631-445C06E2814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3974" y="531565"/>
            <a:ext cx="11602546" cy="510226"/>
          </a:xfrm>
        </p:spPr>
        <p:txBody>
          <a:bodyPr/>
          <a:lstStyle/>
          <a:p>
            <a:r>
              <a:rPr lang="pl-PL" dirty="0">
                <a:solidFill>
                  <a:schemeClr val="accent1">
                    <a:lumMod val="50000"/>
                  </a:schemeClr>
                </a:solidFill>
              </a:rPr>
              <a:t>Praktyczne instrukcje dotyczące stosowania cotygodniowego </a:t>
            </a:r>
            <a:r>
              <a:rPr lang="pl-PL" dirty="0" err="1">
                <a:solidFill>
                  <a:schemeClr val="accent1">
                    <a:lumMod val="50000"/>
                  </a:schemeClr>
                </a:solidFill>
              </a:rPr>
              <a:t>Somatrogonu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AE16A38-93C7-E4C9-EDA8-89769C414FAC}"/>
              </a:ext>
            </a:extLst>
          </p:cNvPr>
          <p:cNvSpPr txBox="1">
            <a:spLocks/>
          </p:cNvSpPr>
          <p:nvPr/>
        </p:nvSpPr>
        <p:spPr>
          <a:xfrm>
            <a:off x="3929791" y="6404546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Ngenla</a:t>
            </a:r>
            <a:r>
              <a:rPr lang="pl-PL" sz="800" dirty="0">
                <a:solidFill>
                  <a:srgbClr val="000000"/>
                </a:solidFill>
              </a:rPr>
              <a:t> (</a:t>
            </a:r>
            <a:r>
              <a:rPr lang="pl-PL" sz="800" dirty="0" err="1">
                <a:solidFill>
                  <a:srgbClr val="000000"/>
                </a:solidFill>
              </a:rPr>
              <a:t>somatrogon</a:t>
            </a:r>
            <a:r>
              <a:rPr lang="pl-PL" sz="800" dirty="0">
                <a:solidFill>
                  <a:srgbClr val="000000"/>
                </a:solidFill>
              </a:rPr>
              <a:t>), 03/2024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86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71B587F-73F3-24A2-E1D8-6CC3E55DCA60}"/>
              </a:ext>
            </a:extLst>
          </p:cNvPr>
          <p:cNvSpPr txBox="1"/>
          <p:nvPr/>
        </p:nvSpPr>
        <p:spPr bwMode="gray">
          <a:xfrm>
            <a:off x="600971" y="2136614"/>
            <a:ext cx="2798917" cy="38569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endParaRPr lang="nl-NL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DB18D3-598D-A1D6-0AF2-6E97FE729A30}"/>
              </a:ext>
            </a:extLst>
          </p:cNvPr>
          <p:cNvSpPr txBox="1"/>
          <p:nvPr/>
        </p:nvSpPr>
        <p:spPr>
          <a:xfrm>
            <a:off x="649599" y="2193066"/>
            <a:ext cx="2750289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pl-PL" sz="1600" b="1" dirty="0">
                <a:solidFill>
                  <a:srgbClr val="0095FF"/>
                </a:solidFill>
                <a:latin typeface="arial" panose="020B0604020202020204" pitchFamily="34" charset="0"/>
              </a:rPr>
              <a:t>Pacjent ten zmienia dzień dawkowania z wtorku na czwartek</a:t>
            </a:r>
          </a:p>
          <a:p>
            <a:pPr defTabSz="914126">
              <a:defRPr/>
            </a:pPr>
            <a:endParaRPr lang="en-US" sz="1600" b="1" dirty="0">
              <a:solidFill>
                <a:srgbClr val="0000C9"/>
              </a:solidFill>
              <a:latin typeface="arial" panose="020B0604020202020204" pitchFamily="34" charset="0"/>
            </a:endParaRPr>
          </a:p>
          <a:p>
            <a:pPr defTabSz="914126">
              <a:defRPr/>
            </a:pPr>
            <a:r>
              <a:rPr lang="pl-PL" sz="1600" b="1" dirty="0">
                <a:solidFill>
                  <a:srgbClr val="0000C9"/>
                </a:solidFill>
                <a:latin typeface="arial" panose="020B0604020202020204" pitchFamily="34" charset="0"/>
              </a:rPr>
              <a:t>Pacjent jest 9 dni bez iniekcji</a:t>
            </a:r>
            <a:endParaRPr lang="en-US" sz="1600" b="1" dirty="0">
              <a:solidFill>
                <a:srgbClr val="0000C9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2EDEC1-7A92-B077-DED2-E84CA6BE066C}"/>
              </a:ext>
            </a:extLst>
          </p:cNvPr>
          <p:cNvSpPr txBox="1"/>
          <p:nvPr/>
        </p:nvSpPr>
        <p:spPr bwMode="gray">
          <a:xfrm>
            <a:off x="600971" y="1441269"/>
            <a:ext cx="2798917" cy="76887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91416" tIns="45708" rIns="91416" bIns="45708" rtlCol="0" anchor="ctr">
            <a:noAutofit/>
          </a:bodyPr>
          <a:lstStyle/>
          <a:p>
            <a:pPr algn="ctr" defTabSz="457063">
              <a:lnSpc>
                <a:spcPct val="90000"/>
              </a:lnSpc>
              <a:defRPr/>
            </a:pP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Zmiana</a:t>
            </a:r>
            <a:r>
              <a:rPr lang="en-US" sz="1999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dnia</a:t>
            </a:r>
            <a:r>
              <a:rPr lang="en-US" sz="1999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999" b="1" dirty="0" err="1">
                <a:solidFill>
                  <a:srgbClr val="FFFFFF"/>
                </a:solidFill>
                <a:cs typeface="Arial" panose="020B0604020202020204" pitchFamily="34" charset="0"/>
              </a:rPr>
              <a:t>dawkowania</a:t>
            </a:r>
            <a:endParaRPr lang="el-GR" sz="1999" b="1" dirty="0">
              <a:solidFill>
                <a:srgbClr val="FFFFF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graphicFrame>
        <p:nvGraphicFramePr>
          <p:cNvPr id="8" name="Table 10">
            <a:extLst>
              <a:ext uri="{FF2B5EF4-FFF2-40B4-BE49-F238E27FC236}">
                <a16:creationId xmlns:a16="http://schemas.microsoft.com/office/drawing/2014/main" id="{F9CF2B27-BF8B-D19A-B522-68FFE1084B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1291572"/>
              </p:ext>
            </p:extLst>
          </p:nvPr>
        </p:nvGraphicFramePr>
        <p:xfrm>
          <a:off x="3718960" y="1441269"/>
          <a:ext cx="7974057" cy="455231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39151">
                  <a:extLst>
                    <a:ext uri="{9D8B030D-6E8A-4147-A177-3AD203B41FA5}">
                      <a16:colId xmlns:a16="http://schemas.microsoft.com/office/drawing/2014/main" val="3062953218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2207359640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3700199948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137819399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36917941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2755427696"/>
                    </a:ext>
                  </a:extLst>
                </a:gridCol>
                <a:gridCol w="1139151">
                  <a:extLst>
                    <a:ext uri="{9D8B030D-6E8A-4147-A177-3AD203B41FA5}">
                      <a16:colId xmlns:a16="http://schemas.microsoft.com/office/drawing/2014/main" val="567545962"/>
                    </a:ext>
                  </a:extLst>
                </a:gridCol>
              </a:tblGrid>
              <a:tr h="419452"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NIEDZ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PON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WT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ŚR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CZW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PT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800" b="1" dirty="0">
                          <a:solidFill>
                            <a:schemeClr val="accent1"/>
                          </a:solidFill>
                        </a:rPr>
                        <a:t>SOB.</a:t>
                      </a:r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F9">
                        <a:alpha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7568986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64643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118622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139655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677665"/>
                  </a:ext>
                </a:extLst>
              </a:tr>
              <a:tr h="826572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8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baseline="8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1416" marR="91416" marT="45708" marB="4570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746606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5370112A-9358-9AE0-E132-17E6432118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227232" y="2223936"/>
            <a:ext cx="775207" cy="1592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908802-9BF9-40D1-599D-9636FF077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6227232" y="3040835"/>
            <a:ext cx="775207" cy="159263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76852D4-7EB8-5958-95CA-462B0BBBC9A5}"/>
              </a:ext>
            </a:extLst>
          </p:cNvPr>
          <p:cNvCxnSpPr>
            <a:cxnSpLocks/>
          </p:cNvCxnSpPr>
          <p:nvPr/>
        </p:nvCxnSpPr>
        <p:spPr>
          <a:xfrm>
            <a:off x="7639904" y="3104432"/>
            <a:ext cx="3613615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B27F888-A2F6-8363-9EB4-5E2C8631C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8460356" y="3909238"/>
            <a:ext cx="775207" cy="1592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91EEC4F-0495-B62C-E813-2F87E5036D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8460356" y="4775399"/>
            <a:ext cx="775207" cy="1592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65A8D94-44E5-60B1-2DAD-7F0E556124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178149">
            <a:off x="8460354" y="5588434"/>
            <a:ext cx="775207" cy="159263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48DCF2C-06E3-D456-B066-C7EEA5389C46}"/>
              </a:ext>
            </a:extLst>
          </p:cNvPr>
          <p:cNvCxnSpPr>
            <a:cxnSpLocks/>
          </p:cNvCxnSpPr>
          <p:nvPr/>
        </p:nvCxnSpPr>
        <p:spPr>
          <a:xfrm>
            <a:off x="4255901" y="3947069"/>
            <a:ext cx="3613615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1DC47C7-C017-396A-F35A-E59FCAB62CD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3974" y="531565"/>
            <a:ext cx="11558479" cy="510226"/>
          </a:xfrm>
        </p:spPr>
        <p:txBody>
          <a:bodyPr/>
          <a:lstStyle/>
          <a:p>
            <a:r>
              <a:rPr lang="pl-PL" dirty="0">
                <a:solidFill>
                  <a:schemeClr val="accent1">
                    <a:lumMod val="50000"/>
                  </a:schemeClr>
                </a:solidFill>
              </a:rPr>
              <a:t>Praktyczne instrukcje dotyczące stosowania cotygodniowego </a:t>
            </a:r>
            <a:r>
              <a:rPr lang="pl-PL" dirty="0" err="1">
                <a:solidFill>
                  <a:schemeClr val="accent1">
                    <a:lumMod val="50000"/>
                  </a:schemeClr>
                </a:solidFill>
              </a:rPr>
              <a:t>Somatrogonu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DC3642D-6D06-70DA-846B-D08379F17B4B}"/>
              </a:ext>
            </a:extLst>
          </p:cNvPr>
          <p:cNvSpPr txBox="1">
            <a:spLocks/>
          </p:cNvSpPr>
          <p:nvPr/>
        </p:nvSpPr>
        <p:spPr>
          <a:xfrm>
            <a:off x="3718960" y="6353083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Ngenla</a:t>
            </a:r>
            <a:r>
              <a:rPr lang="pl-PL" sz="800" dirty="0">
                <a:solidFill>
                  <a:srgbClr val="000000"/>
                </a:solidFill>
              </a:rPr>
              <a:t> (</a:t>
            </a:r>
            <a:r>
              <a:rPr lang="pl-PL" sz="800" dirty="0" err="1">
                <a:solidFill>
                  <a:srgbClr val="000000"/>
                </a:solidFill>
              </a:rPr>
              <a:t>somatrogon</a:t>
            </a:r>
            <a:r>
              <a:rPr lang="pl-PL" sz="800" dirty="0">
                <a:solidFill>
                  <a:srgbClr val="000000"/>
                </a:solidFill>
              </a:rPr>
              <a:t>), 03/2024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15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300110E-750D-8464-5131-516B7B66D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ytuł 1">
            <a:extLst>
              <a:ext uri="{FF2B5EF4-FFF2-40B4-BE49-F238E27FC236}">
                <a16:creationId xmlns:a16="http://schemas.microsoft.com/office/drawing/2014/main" id="{FE5A2AF2-79D9-6E7D-CBCC-BFEF5B7CB7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Agenda</a:t>
            </a:r>
            <a:endParaRPr lang="en-US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B28C7B5A-C15A-3D6D-5879-D1F1E17A6967}"/>
              </a:ext>
            </a:extLst>
          </p:cNvPr>
          <p:cNvSpPr txBox="1">
            <a:spLocks/>
          </p:cNvSpPr>
          <p:nvPr/>
        </p:nvSpPr>
        <p:spPr bwMode="gray">
          <a:xfrm>
            <a:off x="443599" y="1714303"/>
            <a:ext cx="9008745" cy="4280925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Codzienna terap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rhGH</a:t>
            </a: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, obciążenie i zgodność z terapią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LAGH i mechanizm działan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Program kliniczny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awka oraz sposób podawania </a:t>
            </a:r>
            <a:r>
              <a:rPr lang="pl-PL" sz="2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Somatrogon</a:t>
            </a:r>
            <a:endParaRPr lang="pl-PL" sz="2400" dirty="0">
              <a:solidFill>
                <a:schemeClr val="accent1">
                  <a:lumMod val="40000"/>
                  <a:lumOff val="60000"/>
                </a:schemeClr>
              </a:solidFill>
              <a:latin typeface="Arial"/>
              <a:cs typeface="Arial"/>
            </a:endParaRP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Monitorowanie poziomów IGF-1</a:t>
            </a:r>
          </a:p>
          <a:p>
            <a:pPr marL="744220" lvl="1" indent="-457200">
              <a:buFont typeface="+mj-lt"/>
              <a:buAutoNum type="arabicPeriod"/>
            </a:pPr>
            <a:r>
              <a:rPr lang="pl-PL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  <a:cs typeface="Arial"/>
              </a:rPr>
              <a:t>Dyskusja</a:t>
            </a:r>
            <a:endParaRPr lang="en-US" sz="2400" dirty="0">
              <a:solidFill>
                <a:schemeClr val="accent1">
                  <a:lumMod val="40000"/>
                  <a:lumOff val="60000"/>
                </a:schemeClr>
              </a:solidFill>
              <a:cs typeface="Arial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D1A758BD-9A54-4767-26A0-190805B4E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644267"/>
      </p:ext>
    </p:extLst>
  </p:cSld>
  <p:clrMapOvr>
    <a:masterClrMapping/>
  </p:clrMapOvr>
  <p:transition spd="slow">
    <p:wipe dir="d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3DD337-F80D-4FA3-08BD-4F37A2585A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796" y="1570632"/>
            <a:ext cx="11292840" cy="3950208"/>
          </a:xfrm>
        </p:spPr>
        <p:txBody>
          <a:bodyPr/>
          <a:lstStyle/>
          <a:p>
            <a:pPr marL="456565" lvl="1" indent="-169545">
              <a:lnSpc>
                <a:spcPct val="100000"/>
              </a:lnSpc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zetelne monitorowanie IGF-1 jest niezbędne do oceny skuteczności i bezpieczeństwa terapii rhGH</a:t>
            </a:r>
            <a:r>
              <a:rPr lang="pl-PL" sz="1800" baseline="30000" dirty="0">
                <a:solidFill>
                  <a:srgbClr val="000484"/>
                </a:solidFill>
                <a:latin typeface="BlinkMacSystemFont"/>
              </a:rPr>
              <a:t>1-4</a:t>
            </a:r>
            <a:endParaRPr lang="pl-PL" sz="2000" b="1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456565" lvl="1" indent="-169545">
              <a:lnSpc>
                <a:spcPct val="100000"/>
              </a:lnSpc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GF-1 SDS jest preferowanym wskaźnikiem poziomu IGF-1 w surowicy; wartości powinny pozostawać w normalnym zakresie, między -2 a +2 SDS</a:t>
            </a:r>
            <a:r>
              <a:rPr lang="pl-PL" sz="1800" baseline="30000" dirty="0">
                <a:solidFill>
                  <a:srgbClr val="000484"/>
                </a:solidFill>
                <a:latin typeface="BlinkMacSystemFont"/>
              </a:rPr>
              <a:t>5-7</a:t>
            </a:r>
            <a:endParaRPr lang="pl-PL" sz="2000" dirty="0">
              <a:latin typeface="Arial"/>
              <a:cs typeface="Arial"/>
            </a:endParaRPr>
          </a:p>
          <a:p>
            <a:pPr marL="456565" lvl="1" indent="-169545">
              <a:lnSpc>
                <a:spcPct val="100000"/>
              </a:lnSpc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ajlepsze oszacowanie średniego poziomu IGF-1 jest reprezentowane przez poziom w 4. dniu po wstrzyknięciu somatrogonu</a:t>
            </a:r>
            <a:r>
              <a:rPr lang="pl-PL" sz="1800" baseline="30000" dirty="0">
                <a:solidFill>
                  <a:srgbClr val="000484"/>
                </a:solidFill>
                <a:latin typeface="BlinkMacSystemFont"/>
              </a:rPr>
              <a:t>2, 8-9</a:t>
            </a:r>
            <a:endParaRPr lang="pl-PL" sz="20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456565" lvl="1" indent="-169545">
              <a:lnSpc>
                <a:spcPct val="100000"/>
              </a:lnSpc>
            </a:pPr>
            <a:r>
              <a:rPr lang="pl-PL" sz="20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ostępna jest tabela szacunkowa IGF-1, która pozwala oszacować średni poziom IGF-1 na podstawie próbek pobranych w inne dni</a:t>
            </a:r>
            <a:r>
              <a:rPr lang="pl-PL" sz="1800" baseline="30000" dirty="0">
                <a:solidFill>
                  <a:srgbClr val="000484"/>
                </a:solidFill>
                <a:latin typeface="BlinkMacSystemFont"/>
              </a:rPr>
              <a:t>10</a:t>
            </a:r>
            <a:endParaRPr lang="pl-PL" sz="2000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685096" lvl="2" indent="-169545">
              <a:lnSpc>
                <a:spcPct val="100000"/>
              </a:lnSpc>
            </a:pPr>
            <a:r>
              <a:rPr lang="pl-PL" sz="1800" dirty="0"/>
              <a:t>Dawka </a:t>
            </a:r>
            <a:r>
              <a:rPr lang="pl-PL" sz="1800" dirty="0" err="1"/>
              <a:t>somatrogonu</a:t>
            </a:r>
            <a:r>
              <a:rPr lang="pl-PL" sz="1800" dirty="0"/>
              <a:t> może być dostosowana w zależności od potrzeb, w zależności od tempa wzrostu, działań niepożądanych, masy ciała i stężenia IGF-1 w surowicy</a:t>
            </a:r>
          </a:p>
          <a:p>
            <a:pPr marL="685096" lvl="2" indent="-169545">
              <a:lnSpc>
                <a:spcPct val="100000"/>
              </a:lnSpc>
            </a:pP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Jeśli IGF-1 przekracza +2 SD, dawkę można zmniejszyć o 15%; dawkę można zmniejszać wielokrotnie, jeśli zachodzi taka potrzeba;</a:t>
            </a:r>
          </a:p>
          <a:p>
            <a:pPr marL="515551" lvl="2" indent="0">
              <a:lnSpc>
                <a:spcPct val="100000"/>
              </a:lnSpc>
              <a:buNone/>
            </a:pPr>
            <a:endParaRPr lang="pl-PL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E367B4-754D-E0EA-9629-F24C196584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839" y="6174816"/>
            <a:ext cx="8185907" cy="473812"/>
          </a:xfrm>
        </p:spPr>
        <p:txBody>
          <a:bodyPr/>
          <a:lstStyle/>
          <a:p>
            <a:r>
              <a:rPr lang="pl-PL" sz="800" dirty="0"/>
              <a:t>1. </a:t>
            </a:r>
            <a:r>
              <a:rPr lang="pl-PL" sz="800" dirty="0" err="1"/>
              <a:t>Kildemoes</a:t>
            </a:r>
            <a:r>
              <a:rPr lang="pl-PL" sz="800" dirty="0"/>
              <a:t> RJ et al. J </a:t>
            </a:r>
            <a:r>
              <a:rPr lang="pl-PL" sz="800" dirty="0" err="1"/>
              <a:t>Clin</a:t>
            </a:r>
            <a:r>
              <a:rPr lang="pl-PL" sz="800" dirty="0"/>
              <a:t> </a:t>
            </a:r>
            <a:r>
              <a:rPr lang="pl-PL" sz="800" dirty="0" err="1"/>
              <a:t>Endocrinol</a:t>
            </a:r>
            <a:r>
              <a:rPr lang="pl-PL" sz="800" dirty="0"/>
              <a:t> </a:t>
            </a:r>
            <a:r>
              <a:rPr lang="pl-PL" sz="800" dirty="0" err="1"/>
              <a:t>Metab</a:t>
            </a:r>
            <a:r>
              <a:rPr lang="pl-PL" sz="800" dirty="0"/>
              <a:t> 2021;106:567–576; 2. Fisher et al. </a:t>
            </a:r>
            <a:r>
              <a:rPr lang="pl-PL" sz="800" dirty="0" err="1"/>
              <a:t>Horm</a:t>
            </a:r>
            <a:r>
              <a:rPr lang="pl-PL" sz="800" dirty="0"/>
              <a:t> Res </a:t>
            </a:r>
            <a:r>
              <a:rPr lang="pl-PL" sz="800" dirty="0" err="1"/>
              <a:t>Paediatr</a:t>
            </a:r>
            <a:r>
              <a:rPr lang="pl-PL" sz="800" dirty="0"/>
              <a:t> 2017;87:324–332 3. </a:t>
            </a:r>
            <a:r>
              <a:rPr lang="pl-PL" sz="800" dirty="0" err="1"/>
              <a:t>Chong</a:t>
            </a:r>
            <a:r>
              <a:rPr lang="pl-PL" sz="800" dirty="0"/>
              <a:t> YM et al. </a:t>
            </a:r>
            <a:r>
              <a:rPr lang="pl-PL" sz="800" dirty="0" err="1"/>
              <a:t>Anticancer</a:t>
            </a:r>
            <a:r>
              <a:rPr lang="pl-PL" sz="800" dirty="0"/>
              <a:t> Res 2007;27:1617–</a:t>
            </a:r>
          </a:p>
          <a:p>
            <a:r>
              <a:rPr lang="pl-PL" sz="800" dirty="0"/>
              <a:t>1624; 4.Laron Z. Mol </a:t>
            </a:r>
            <a:r>
              <a:rPr lang="pl-PL" sz="800" dirty="0" err="1"/>
              <a:t>Pathol</a:t>
            </a:r>
            <a:r>
              <a:rPr lang="pl-PL" sz="800" dirty="0"/>
              <a:t> 2001;54:311–316; 5. Blum WF et al. </a:t>
            </a:r>
            <a:r>
              <a:rPr lang="pl-PL" sz="800" dirty="0" err="1"/>
              <a:t>Endocr</a:t>
            </a:r>
            <a:r>
              <a:rPr lang="pl-PL" sz="800" dirty="0"/>
              <a:t> Connect 2018;7:R212–R222; 6. Kos S et al. </a:t>
            </a:r>
            <a:r>
              <a:rPr lang="pl-PL" sz="800" dirty="0" err="1"/>
              <a:t>Eur</a:t>
            </a:r>
            <a:r>
              <a:rPr lang="pl-PL" sz="800" dirty="0"/>
              <a:t> J </a:t>
            </a:r>
            <a:r>
              <a:rPr lang="pl-PL" sz="800" dirty="0" err="1"/>
              <a:t>Endocrinol</a:t>
            </a:r>
            <a:r>
              <a:rPr lang="pl-PL" sz="800" dirty="0"/>
              <a:t> 2019;181:L1–L4; 7. Chanson P et al. J </a:t>
            </a:r>
            <a:r>
              <a:rPr lang="pl-PL" sz="800" dirty="0" err="1"/>
              <a:t>Clin</a:t>
            </a:r>
            <a:r>
              <a:rPr lang="pl-PL" sz="800" dirty="0"/>
              <a:t> </a:t>
            </a:r>
          </a:p>
          <a:p>
            <a:r>
              <a:rPr lang="pl-PL" sz="800" dirty="0" err="1"/>
              <a:t>Endocrinol</a:t>
            </a:r>
            <a:r>
              <a:rPr lang="pl-PL" sz="800" dirty="0"/>
              <a:t> </a:t>
            </a:r>
            <a:r>
              <a:rPr lang="pl-PL" sz="800" dirty="0" err="1"/>
              <a:t>Metab</a:t>
            </a:r>
            <a:r>
              <a:rPr lang="pl-PL" sz="800" dirty="0"/>
              <a:t> 2016;101:3450–3458; 8. </a:t>
            </a:r>
            <a:r>
              <a:rPr lang="pl-PL" sz="800" dirty="0" err="1"/>
              <a:t>Bidlingmaier</a:t>
            </a:r>
            <a:r>
              <a:rPr lang="pl-PL" sz="800" dirty="0"/>
              <a:t> M et al. J </a:t>
            </a:r>
            <a:r>
              <a:rPr lang="pl-PL" sz="800" dirty="0" err="1"/>
              <a:t>Clin</a:t>
            </a:r>
            <a:r>
              <a:rPr lang="pl-PL" sz="800" dirty="0"/>
              <a:t> </a:t>
            </a:r>
            <a:r>
              <a:rPr lang="pl-PL" sz="800" dirty="0" err="1"/>
              <a:t>Endocrinol</a:t>
            </a:r>
            <a:r>
              <a:rPr lang="pl-PL" sz="800" dirty="0"/>
              <a:t> </a:t>
            </a:r>
            <a:r>
              <a:rPr lang="pl-PL" sz="800" dirty="0" err="1"/>
              <a:t>Metab</a:t>
            </a:r>
            <a:r>
              <a:rPr lang="pl-PL" sz="800" dirty="0"/>
              <a:t> 2021;106:e2367–e23694, 9. </a:t>
            </a:r>
            <a:r>
              <a:rPr lang="pl-PL" sz="800" dirty="0" err="1"/>
              <a:t>Zadik</a:t>
            </a:r>
            <a:r>
              <a:rPr lang="pl-PL" sz="800" dirty="0"/>
              <a:t> Z et al. J </a:t>
            </a:r>
            <a:r>
              <a:rPr lang="pl-PL" sz="800" dirty="0" err="1"/>
              <a:t>Pediatr</a:t>
            </a:r>
            <a:r>
              <a:rPr lang="pl-PL" sz="800" dirty="0"/>
              <a:t> </a:t>
            </a:r>
            <a:r>
              <a:rPr lang="pl-PL" sz="800" dirty="0" err="1"/>
              <a:t>Endocrinol</a:t>
            </a:r>
            <a:r>
              <a:rPr lang="pl-PL" sz="800" dirty="0"/>
              <a:t> </a:t>
            </a:r>
            <a:r>
              <a:rPr lang="pl-PL" sz="800" dirty="0" err="1"/>
              <a:t>Metab</a:t>
            </a:r>
            <a:r>
              <a:rPr lang="pl-PL" sz="800" dirty="0"/>
              <a:t> 2023;36:261–269. </a:t>
            </a:r>
          </a:p>
          <a:p>
            <a:r>
              <a:rPr lang="pl-PL" sz="800" dirty="0"/>
              <a:t>March 2024. 10. </a:t>
            </a:r>
            <a:r>
              <a:rPr lang="pl-PL" sz="800" dirty="0" err="1"/>
              <a:t>Nayak</a:t>
            </a:r>
            <a:r>
              <a:rPr lang="pl-PL" sz="800" dirty="0"/>
              <a:t>, </a:t>
            </a:r>
            <a:r>
              <a:rPr lang="pl-PL" sz="800" dirty="0" err="1"/>
              <a:t>Satyaprakash</a:t>
            </a:r>
            <a:r>
              <a:rPr lang="pl-PL" sz="800" dirty="0"/>
              <a:t> et al. “IGF-1 </a:t>
            </a:r>
            <a:r>
              <a:rPr lang="pl-PL" sz="800" dirty="0" err="1"/>
              <a:t>Assessment</a:t>
            </a:r>
            <a:r>
              <a:rPr lang="pl-PL" sz="800" dirty="0"/>
              <a:t> </a:t>
            </a:r>
            <a:r>
              <a:rPr lang="pl-PL" sz="800" dirty="0" err="1"/>
              <a:t>During</a:t>
            </a:r>
            <a:r>
              <a:rPr lang="pl-PL" sz="800" dirty="0"/>
              <a:t> </a:t>
            </a:r>
            <a:r>
              <a:rPr lang="pl-PL" sz="800" dirty="0" err="1"/>
              <a:t>Weekly</a:t>
            </a:r>
            <a:r>
              <a:rPr lang="pl-PL" sz="800" dirty="0"/>
              <a:t> </a:t>
            </a:r>
            <a:r>
              <a:rPr lang="pl-PL" sz="800" dirty="0" err="1"/>
              <a:t>Somatrogon</a:t>
            </a:r>
            <a:r>
              <a:rPr lang="pl-PL" sz="800" dirty="0"/>
              <a:t> </a:t>
            </a:r>
            <a:r>
              <a:rPr lang="pl-PL" sz="800" dirty="0" err="1"/>
              <a:t>Treatment</a:t>
            </a:r>
            <a:r>
              <a:rPr lang="pl-PL" sz="800" dirty="0"/>
              <a:t> in </a:t>
            </a:r>
            <a:r>
              <a:rPr lang="pl-PL" sz="800" dirty="0" err="1"/>
              <a:t>Pediatric</a:t>
            </a:r>
            <a:r>
              <a:rPr lang="pl-PL" sz="800" dirty="0"/>
              <a:t> </a:t>
            </a:r>
            <a:r>
              <a:rPr lang="pl-PL" sz="800" dirty="0" err="1"/>
              <a:t>Patients</a:t>
            </a:r>
            <a:r>
              <a:rPr lang="pl-PL" sz="800" dirty="0"/>
              <a:t> With GH </a:t>
            </a:r>
            <a:r>
              <a:rPr lang="pl-PL" sz="800" dirty="0" err="1"/>
              <a:t>Deficiency</a:t>
            </a:r>
            <a:r>
              <a:rPr lang="pl-PL" sz="800" dirty="0"/>
              <a:t>.” </a:t>
            </a:r>
            <a:r>
              <a:rPr lang="pl-PL" sz="800" dirty="0" err="1"/>
              <a:t>Journal</a:t>
            </a:r>
            <a:r>
              <a:rPr lang="pl-PL" sz="800" dirty="0"/>
              <a:t> of the </a:t>
            </a:r>
            <a:r>
              <a:rPr lang="pl-PL" sz="800" dirty="0" err="1"/>
              <a:t>Endocrine</a:t>
            </a:r>
            <a:r>
              <a:rPr lang="pl-PL" sz="800" dirty="0"/>
              <a:t> </a:t>
            </a:r>
            <a:r>
              <a:rPr lang="pl-PL" sz="800" dirty="0" err="1"/>
              <a:t>Society</a:t>
            </a:r>
            <a:r>
              <a:rPr lang="pl-PL" sz="800" dirty="0"/>
              <a:t> vol. 9,2 bvaf001. 13 Jan. 2025,</a:t>
            </a:r>
            <a:endParaRPr lang="en-US" sz="800" dirty="0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AB2EFACC-7B53-9AC0-9E13-3A95F17169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46796" y="382206"/>
            <a:ext cx="11293475" cy="850900"/>
          </a:xfrm>
        </p:spPr>
        <p:txBody>
          <a:bodyPr/>
          <a:lstStyle/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Monitorowanie IGF-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26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BA793D02-C18F-2ECC-D854-FC2FD3C00D33}"/>
              </a:ext>
            </a:extLst>
          </p:cNvPr>
          <p:cNvSpPr txBox="1">
            <a:spLocks/>
          </p:cNvSpPr>
          <p:nvPr/>
        </p:nvSpPr>
        <p:spPr bwMode="gray">
          <a:xfrm>
            <a:off x="3853420" y="6248608"/>
            <a:ext cx="8442319" cy="557007"/>
          </a:xfrm>
          <a:prstGeom prst="rect">
            <a:avLst/>
          </a:prstGeom>
        </p:spPr>
        <p:txBody>
          <a:bodyPr vert="horz" lIns="45708" tIns="45708" rIns="45708" bIns="45708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2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89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51" indent="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defRPr/>
            </a:pP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-1=insulin-like growth factor 1; </a:t>
            </a:r>
            <a:r>
              <a:rPr lang="el-G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ΦΚ=</a:t>
            </a:r>
            <a:r>
              <a:rPr lang="el-GR" sz="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φαρμακοκινητικό</a:t>
            </a:r>
            <a:r>
              <a:rPr lang="el-G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ΦΔ=φαρμακοδυναμικό;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S=standard deviation score.</a:t>
            </a:r>
          </a:p>
          <a:p>
            <a:pPr defTabSz="914126">
              <a:defRPr/>
            </a:pP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Fisher DM, et al. </a:t>
            </a:r>
            <a:r>
              <a:rPr lang="en-US"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rm Res </a:t>
            </a:r>
            <a:r>
              <a:rPr lang="en-US" sz="8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ediat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7;87:324‐332. 2. Bidlingmaier M, et al. </a:t>
            </a:r>
            <a:r>
              <a:rPr lang="en-US"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Clin Endocrinol Metab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1;106:e2367-e2369. 3. Deal C, et al. </a:t>
            </a:r>
            <a:r>
              <a:rPr lang="en-US"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Clin Endocrinol Metab.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;107:e2717-e-2728. 4. European Medicines Agency: Ngenla. Assessment report. Accessed September 10, 2024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D3468F-0C3F-74C4-FEF8-1860C5040B1B}"/>
              </a:ext>
            </a:extLst>
          </p:cNvPr>
          <p:cNvSpPr txBox="1"/>
          <p:nvPr/>
        </p:nvSpPr>
        <p:spPr>
          <a:xfrm>
            <a:off x="1610266" y="1108696"/>
            <a:ext cx="89659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pl-PL" sz="1600" b="1" dirty="0">
                <a:solidFill>
                  <a:srgbClr val="151F6D"/>
                </a:solidFill>
              </a:rPr>
              <a:t>Profil farmakodynamiczny charakterystyki IGF-1 z </a:t>
            </a:r>
            <a:r>
              <a:rPr lang="pl-PL" sz="1600" b="1" dirty="0" err="1">
                <a:solidFill>
                  <a:srgbClr val="151F6D"/>
                </a:solidFill>
              </a:rPr>
              <a:t>Somatrogonem</a:t>
            </a:r>
            <a:endParaRPr lang="el-GR" sz="1600" b="1" dirty="0">
              <a:solidFill>
                <a:srgbClr val="151F6D"/>
              </a:solidFill>
              <a:latin typeface="Arial" panose="020B0604020202020204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F1354A-CC1D-3E2E-D5DE-24E7A125F8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9386" y="1525070"/>
            <a:ext cx="6938685" cy="462579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7C583EE-6CA1-358B-D164-F16F6957AAB7}"/>
              </a:ext>
            </a:extLst>
          </p:cNvPr>
          <p:cNvSpPr txBox="1"/>
          <p:nvPr/>
        </p:nvSpPr>
        <p:spPr>
          <a:xfrm>
            <a:off x="9793816" y="6120603"/>
            <a:ext cx="2059201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her et al and Bidlingmaier et al</a:t>
            </a:r>
          </a:p>
        </p:txBody>
      </p:sp>
      <p:sp>
        <p:nvSpPr>
          <p:cNvPr id="6" name="Tytuł 1">
            <a:extLst>
              <a:ext uri="{FF2B5EF4-FFF2-40B4-BE49-F238E27FC236}">
                <a16:creationId xmlns:a16="http://schemas.microsoft.com/office/drawing/2014/main" id="{456FD21A-9A6C-C1FB-ACC3-002AE7EDF73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5700" y="281690"/>
            <a:ext cx="11293475" cy="8509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Monitorowanie IGF-1</a:t>
            </a:r>
            <a:endParaRPr lang="pl-PL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13E2EC24-AACA-51E2-C450-4D959A53B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0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49DADFA-2C5C-CD49-7BA2-76E890B4A4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D428BC-585F-D505-C4A3-5695A420C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345735"/>
            <a:ext cx="11292840" cy="1158973"/>
          </a:xfrm>
        </p:spPr>
        <p:txBody>
          <a:bodyPr/>
          <a:lstStyle/>
          <a:p>
            <a:pPr algn="ctr"/>
            <a:r>
              <a:rPr lang="pl-PL" b="1" dirty="0">
                <a:solidFill>
                  <a:srgbClr val="003FE2"/>
                </a:solidFill>
                <a:latin typeface="Segoe UI" panose="020B0502040204020203" pitchFamily="34" charset="0"/>
              </a:rPr>
              <a:t>Różnice </a:t>
            </a:r>
            <a:r>
              <a:rPr lang="pl-PL" b="1" i="0" dirty="0">
                <a:solidFill>
                  <a:srgbClr val="003FE2"/>
                </a:solidFill>
                <a:effectLst/>
                <a:latin typeface="Segoe UI" panose="020B0502040204020203" pitchFamily="34" charset="0"/>
              </a:rPr>
              <a:t>farmakodynamicznych między tygodniowym LAGH a codziennym hormonem wzrostu (A = szczyt, B = średnia, C = najniższy poziom)</a:t>
            </a:r>
            <a:endParaRPr lang="en-US" dirty="0">
              <a:solidFill>
                <a:srgbClr val="003FE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2E17B6-29C9-1ED4-ACCD-0135B51031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798" y="1682694"/>
            <a:ext cx="11080891" cy="4637165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9BDB2D2-B1DB-2408-D55F-10E5A5225408}"/>
              </a:ext>
            </a:extLst>
          </p:cNvPr>
          <p:cNvSpPr txBox="1">
            <a:spLocks/>
          </p:cNvSpPr>
          <p:nvPr/>
        </p:nvSpPr>
        <p:spPr bwMode="gray">
          <a:xfrm>
            <a:off x="3992315" y="6300993"/>
            <a:ext cx="8442319" cy="557007"/>
          </a:xfrm>
          <a:prstGeom prst="rect">
            <a:avLst/>
          </a:prstGeom>
        </p:spPr>
        <p:txBody>
          <a:bodyPr vert="horz" lIns="45708" tIns="45708" rIns="45708" bIns="45708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2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89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51" indent="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defRPr/>
            </a:pP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iatis, Aristides et al. “Long-Acting Growth Hormone Therapy in Pediatric Growth Hormone Deficiency: A Consensus Statement.” The Journal of clinical endocrinology and metabolism, dgae834. 3 Dec. 2024, doi:10.1210/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em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dgae834. 3. Deal C, et al. </a:t>
            </a:r>
            <a:r>
              <a:rPr lang="en-US"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Clin Endocrinol </a:t>
            </a:r>
            <a:r>
              <a:rPr lang="en-US" sz="8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b</a:t>
            </a:r>
            <a:r>
              <a:rPr lang="en-US"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;107:e2717-e-2728. 4. European Medicines Agency: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enla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ssessment report. Accessed September 10, 2024. </a:t>
            </a: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7389A05C-6C5C-7054-8CDA-BAD6CB848C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23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CA99F4F-95CD-8470-8DB0-B7C97F0D1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9040E-AC34-B2C4-9A72-040936940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63" y="438333"/>
            <a:ext cx="10607025" cy="1645111"/>
          </a:xfrm>
        </p:spPr>
        <p:txBody>
          <a:bodyPr/>
          <a:lstStyle/>
          <a:p>
            <a:pPr algn="ctr"/>
            <a:r>
              <a:rPr lang="pl-PL" b="1" dirty="0">
                <a:solidFill>
                  <a:srgbClr val="003FE2"/>
                </a:solidFill>
              </a:rPr>
              <a:t>Tabela umożliwiająca przeliczenie wyniku IGF-1 lub IGF-1 SDS uzyskanego w innym czasie niż 4 dni po poprzedniej dawce </a:t>
            </a:r>
            <a:r>
              <a:rPr lang="pl-PL" b="1" dirty="0" err="1">
                <a:solidFill>
                  <a:srgbClr val="003FE2"/>
                </a:solidFill>
              </a:rPr>
              <a:t>Somatrogonu</a:t>
            </a:r>
            <a:r>
              <a:rPr lang="pl-PL" b="1" dirty="0">
                <a:solidFill>
                  <a:srgbClr val="003FE2"/>
                </a:solidFill>
              </a:rPr>
              <a:t> na oczekiwany średni wynik na podstawie tego pomiaru.</a:t>
            </a:r>
            <a:endParaRPr lang="en-US" b="1" dirty="0">
              <a:solidFill>
                <a:srgbClr val="003FE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1B916-27E1-FF06-EC09-28595472FB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4560" y="2303866"/>
            <a:ext cx="10873243" cy="3693189"/>
          </a:xfrm>
          <a:prstGeom prst="rect">
            <a:avLst/>
          </a:prstGeom>
          <a:ln w="2222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8544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01BBC08-2751-41D5-B8EF-6905679053AE}"/>
              </a:ext>
            </a:extLst>
          </p:cNvPr>
          <p:cNvSpPr/>
          <p:nvPr/>
        </p:nvSpPr>
        <p:spPr>
          <a:xfrm>
            <a:off x="476616" y="2261282"/>
            <a:ext cx="4502290" cy="2715948"/>
          </a:xfrm>
          <a:prstGeom prst="roundRect">
            <a:avLst>
              <a:gd name="adj" fmla="val 611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5856B75-7543-4828-B7C3-5AAF3E805488}"/>
              </a:ext>
            </a:extLst>
          </p:cNvPr>
          <p:cNvSpPr txBox="1">
            <a:spLocks/>
          </p:cNvSpPr>
          <p:nvPr/>
        </p:nvSpPr>
        <p:spPr>
          <a:xfrm>
            <a:off x="7580332" y="1818057"/>
            <a:ext cx="3822733" cy="701381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lnSpc>
                <a:spcPct val="100000"/>
              </a:lnSpc>
              <a:buClr>
                <a:srgbClr val="F49C34"/>
              </a:buClr>
              <a:defRPr/>
            </a:pPr>
            <a:endParaRPr lang="en-US" sz="1999">
              <a:solidFill>
                <a:srgbClr val="0095FF"/>
              </a:solidFill>
              <a:latin typeface="Arial" panose="020B0604020202020204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78FB9F9-3B45-481D-AFC3-C17FB8BC8EEE}"/>
              </a:ext>
            </a:extLst>
          </p:cNvPr>
          <p:cNvGrpSpPr/>
          <p:nvPr/>
        </p:nvGrpSpPr>
        <p:grpSpPr>
          <a:xfrm>
            <a:off x="5185605" y="1471253"/>
            <a:ext cx="2764896" cy="3644108"/>
            <a:chOff x="4686721" y="1629221"/>
            <a:chExt cx="3143574" cy="414320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BFC73CF-D541-4240-90A4-17A7C66A6759}"/>
                </a:ext>
              </a:extLst>
            </p:cNvPr>
            <p:cNvSpPr/>
            <p:nvPr/>
          </p:nvSpPr>
          <p:spPr>
            <a:xfrm flipH="1">
              <a:off x="4686721" y="1629221"/>
              <a:ext cx="1555071" cy="4143202"/>
            </a:xfrm>
            <a:custGeom>
              <a:avLst/>
              <a:gdLst>
                <a:gd name="connsiteX0" fmla="*/ 892833 w 1901875"/>
                <a:gd name="connsiteY0" fmla="*/ 0 h 5067198"/>
                <a:gd name="connsiteX1" fmla="*/ 612887 w 1901875"/>
                <a:gd name="connsiteY1" fmla="*/ 127784 h 5067198"/>
                <a:gd name="connsiteX2" fmla="*/ 536687 w 1901875"/>
                <a:gd name="connsiteY2" fmla="*/ 337334 h 5067198"/>
                <a:gd name="connsiteX3" fmla="*/ 536687 w 1901875"/>
                <a:gd name="connsiteY3" fmla="*/ 550694 h 5067198"/>
                <a:gd name="connsiteX4" fmla="*/ 508112 w 1901875"/>
                <a:gd name="connsiteY4" fmla="*/ 577364 h 5067198"/>
                <a:gd name="connsiteX5" fmla="*/ 496682 w 1901875"/>
                <a:gd name="connsiteY5" fmla="*/ 623084 h 5067198"/>
                <a:gd name="connsiteX6" fmla="*/ 527162 w 1901875"/>
                <a:gd name="connsiteY6" fmla="*/ 708809 h 5067198"/>
                <a:gd name="connsiteX7" fmla="*/ 572882 w 1901875"/>
                <a:gd name="connsiteY7" fmla="*/ 804059 h 5067198"/>
                <a:gd name="connsiteX8" fmla="*/ 603362 w 1901875"/>
                <a:gd name="connsiteY8" fmla="*/ 830729 h 5067198"/>
                <a:gd name="connsiteX9" fmla="*/ 631937 w 1901875"/>
                <a:gd name="connsiteY9" fmla="*/ 819299 h 5067198"/>
                <a:gd name="connsiteX10" fmla="*/ 656702 w 1901875"/>
                <a:gd name="connsiteY10" fmla="*/ 878354 h 5067198"/>
                <a:gd name="connsiteX11" fmla="*/ 690992 w 1901875"/>
                <a:gd name="connsiteY11" fmla="*/ 946934 h 5067198"/>
                <a:gd name="connsiteX12" fmla="*/ 697541 w 1901875"/>
                <a:gd name="connsiteY12" fmla="*/ 1024801 h 5067198"/>
                <a:gd name="connsiteX13" fmla="*/ 691944 w 1901875"/>
                <a:gd name="connsiteY13" fmla="*/ 1077926 h 5067198"/>
                <a:gd name="connsiteX14" fmla="*/ 691771 w 1901875"/>
                <a:gd name="connsiteY14" fmla="*/ 1078684 h 5067198"/>
                <a:gd name="connsiteX15" fmla="*/ 602727 w 1901875"/>
                <a:gd name="connsiteY15" fmla="*/ 1150389 h 5067198"/>
                <a:gd name="connsiteX16" fmla="*/ 316977 w 1901875"/>
                <a:gd name="connsiteY16" fmla="*/ 1246909 h 5067198"/>
                <a:gd name="connsiteX17" fmla="*/ 206487 w 1901875"/>
                <a:gd name="connsiteY17" fmla="*/ 1353589 h 5067198"/>
                <a:gd name="connsiteX18" fmla="*/ 121397 w 1901875"/>
                <a:gd name="connsiteY18" fmla="*/ 1569489 h 5067198"/>
                <a:gd name="connsiteX19" fmla="*/ 88377 w 1901875"/>
                <a:gd name="connsiteY19" fmla="*/ 1757449 h 5067198"/>
                <a:gd name="connsiteX20" fmla="*/ 76947 w 1901875"/>
                <a:gd name="connsiteY20" fmla="*/ 1936519 h 5067198"/>
                <a:gd name="connsiteX21" fmla="*/ 31227 w 1901875"/>
                <a:gd name="connsiteY21" fmla="*/ 2115589 h 5067198"/>
                <a:gd name="connsiteX22" fmla="*/ 15987 w 1901875"/>
                <a:gd name="connsiteY22" fmla="*/ 2389909 h 5067198"/>
                <a:gd name="connsiteX23" fmla="*/ 747 w 1901875"/>
                <a:gd name="connsiteY23" fmla="*/ 2801389 h 5067198"/>
                <a:gd name="connsiteX24" fmla="*/ 4557 w 1901875"/>
                <a:gd name="connsiteY24" fmla="*/ 2911879 h 5067198"/>
                <a:gd name="connsiteX25" fmla="*/ 23607 w 1901875"/>
                <a:gd name="connsiteY25" fmla="*/ 3022369 h 5067198"/>
                <a:gd name="connsiteX26" fmla="*/ 46467 w 1901875"/>
                <a:gd name="connsiteY26" fmla="*/ 3159529 h 5067198"/>
                <a:gd name="connsiteX27" fmla="*/ 118857 w 1901875"/>
                <a:gd name="connsiteY27" fmla="*/ 3235729 h 5067198"/>
                <a:gd name="connsiteX28" fmla="*/ 206487 w 1901875"/>
                <a:gd name="connsiteY28" fmla="*/ 3300499 h 5067198"/>
                <a:gd name="connsiteX29" fmla="*/ 233157 w 1901875"/>
                <a:gd name="connsiteY29" fmla="*/ 3296689 h 5067198"/>
                <a:gd name="connsiteX30" fmla="*/ 233157 w 1901875"/>
                <a:gd name="connsiteY30" fmla="*/ 3270019 h 5067198"/>
                <a:gd name="connsiteX31" fmla="*/ 187437 w 1901875"/>
                <a:gd name="connsiteY31" fmla="*/ 3224299 h 5067198"/>
                <a:gd name="connsiteX32" fmla="*/ 153147 w 1901875"/>
                <a:gd name="connsiteY32" fmla="*/ 3193819 h 5067198"/>
                <a:gd name="connsiteX33" fmla="*/ 141717 w 1901875"/>
                <a:gd name="connsiteY33" fmla="*/ 3159529 h 5067198"/>
                <a:gd name="connsiteX34" fmla="*/ 126477 w 1901875"/>
                <a:gd name="connsiteY34" fmla="*/ 3125239 h 5067198"/>
                <a:gd name="connsiteX35" fmla="*/ 130287 w 1901875"/>
                <a:gd name="connsiteY35" fmla="*/ 3064279 h 5067198"/>
                <a:gd name="connsiteX36" fmla="*/ 137907 w 1901875"/>
                <a:gd name="connsiteY36" fmla="*/ 3029989 h 5067198"/>
                <a:gd name="connsiteX37" fmla="*/ 153147 w 1901875"/>
                <a:gd name="connsiteY37" fmla="*/ 3022369 h 5067198"/>
                <a:gd name="connsiteX38" fmla="*/ 187437 w 1901875"/>
                <a:gd name="connsiteY38" fmla="*/ 3079519 h 5067198"/>
                <a:gd name="connsiteX39" fmla="*/ 240777 w 1901875"/>
                <a:gd name="connsiteY39" fmla="*/ 3117619 h 5067198"/>
                <a:gd name="connsiteX40" fmla="*/ 267447 w 1901875"/>
                <a:gd name="connsiteY40" fmla="*/ 3106189 h 5067198"/>
                <a:gd name="connsiteX41" fmla="*/ 267447 w 1901875"/>
                <a:gd name="connsiteY41" fmla="*/ 3075709 h 5067198"/>
                <a:gd name="connsiteX42" fmla="*/ 225537 w 1901875"/>
                <a:gd name="connsiteY42" fmla="*/ 3022369 h 5067198"/>
                <a:gd name="connsiteX43" fmla="*/ 198867 w 1901875"/>
                <a:gd name="connsiteY43" fmla="*/ 2881399 h 5067198"/>
                <a:gd name="connsiteX44" fmla="*/ 153147 w 1901875"/>
                <a:gd name="connsiteY44" fmla="*/ 2816629 h 5067198"/>
                <a:gd name="connsiteX45" fmla="*/ 141717 w 1901875"/>
                <a:gd name="connsiteY45" fmla="*/ 2759479 h 5067198"/>
                <a:gd name="connsiteX46" fmla="*/ 206487 w 1901875"/>
                <a:gd name="connsiteY46" fmla="*/ 2553739 h 5067198"/>
                <a:gd name="connsiteX47" fmla="*/ 274432 w 1901875"/>
                <a:gd name="connsiteY47" fmla="*/ 2200679 h 5067198"/>
                <a:gd name="connsiteX48" fmla="*/ 385557 w 1901875"/>
                <a:gd name="connsiteY48" fmla="*/ 1778404 h 5067198"/>
                <a:gd name="connsiteX49" fmla="*/ 367777 w 1901875"/>
                <a:gd name="connsiteY49" fmla="*/ 1948584 h 5067198"/>
                <a:gd name="connsiteX50" fmla="*/ 281417 w 1901875"/>
                <a:gd name="connsiteY50" fmla="*/ 2412769 h 5067198"/>
                <a:gd name="connsiteX51" fmla="*/ 294371 w 1901875"/>
                <a:gd name="connsiteY51" fmla="*/ 2759479 h 5067198"/>
                <a:gd name="connsiteX52" fmla="*/ 330947 w 1901875"/>
                <a:gd name="connsiteY52" fmla="*/ 3049039 h 5067198"/>
                <a:gd name="connsiteX53" fmla="*/ 333584 w 1901875"/>
                <a:gd name="connsiteY53" fmla="*/ 3051969 h 5067198"/>
                <a:gd name="connsiteX54" fmla="*/ 349647 w 1901875"/>
                <a:gd name="connsiteY54" fmla="*/ 3137927 h 5067198"/>
                <a:gd name="connsiteX55" fmla="*/ 368377 w 1901875"/>
                <a:gd name="connsiteY55" fmla="*/ 3238832 h 5067198"/>
                <a:gd name="connsiteX56" fmla="*/ 399039 w 1901875"/>
                <a:gd name="connsiteY56" fmla="*/ 3417917 h 5067198"/>
                <a:gd name="connsiteX57" fmla="*/ 423569 w 1901875"/>
                <a:gd name="connsiteY57" fmla="*/ 3559834 h 5067198"/>
                <a:gd name="connsiteX58" fmla="*/ 433790 w 1901875"/>
                <a:gd name="connsiteY58" fmla="*/ 3674719 h 5067198"/>
                <a:gd name="connsiteX59" fmla="*/ 417437 w 1901875"/>
                <a:gd name="connsiteY59" fmla="*/ 3813256 h 5067198"/>
                <a:gd name="connsiteX60" fmla="*/ 417437 w 1901875"/>
                <a:gd name="connsiteY60" fmla="*/ 3914625 h 5067198"/>
                <a:gd name="connsiteX61" fmla="*/ 396995 w 1901875"/>
                <a:gd name="connsiteY61" fmla="*/ 4036268 h 5067198"/>
                <a:gd name="connsiteX62" fmla="*/ 407216 w 1901875"/>
                <a:gd name="connsiteY62" fmla="*/ 4205216 h 5067198"/>
                <a:gd name="connsiteX63" fmla="*/ 417437 w 1901875"/>
                <a:gd name="connsiteY63" fmla="*/ 4273218 h 5067198"/>
                <a:gd name="connsiteX64" fmla="*/ 418802 w 1901875"/>
                <a:gd name="connsiteY64" fmla="*/ 4276349 h 5067198"/>
                <a:gd name="connsiteX65" fmla="*/ 418570 w 1901875"/>
                <a:gd name="connsiteY65" fmla="*/ 4281808 h 5067198"/>
                <a:gd name="connsiteX66" fmla="*/ 443371 w 1901875"/>
                <a:gd name="connsiteY66" fmla="*/ 4452261 h 5067198"/>
                <a:gd name="connsiteX67" fmla="*/ 450107 w 1901875"/>
                <a:gd name="connsiteY67" fmla="*/ 4539256 h 5067198"/>
                <a:gd name="connsiteX68" fmla="*/ 445392 w 1901875"/>
                <a:gd name="connsiteY68" fmla="*/ 4651016 h 5067198"/>
                <a:gd name="connsiteX69" fmla="*/ 406999 w 1901875"/>
                <a:gd name="connsiteY69" fmla="*/ 4778016 h 5067198"/>
                <a:gd name="connsiteX70" fmla="*/ 319437 w 1901875"/>
                <a:gd name="connsiteY70" fmla="*/ 4906921 h 5067198"/>
                <a:gd name="connsiteX71" fmla="*/ 288454 w 1901875"/>
                <a:gd name="connsiteY71" fmla="*/ 4976771 h 5067198"/>
                <a:gd name="connsiteX72" fmla="*/ 296536 w 1901875"/>
                <a:gd name="connsiteY72" fmla="*/ 4981216 h 5067198"/>
                <a:gd name="connsiteX73" fmla="*/ 301925 w 1901875"/>
                <a:gd name="connsiteY73" fmla="*/ 5004076 h 5067198"/>
                <a:gd name="connsiteX74" fmla="*/ 312701 w 1901875"/>
                <a:gd name="connsiteY74" fmla="*/ 5004076 h 5067198"/>
                <a:gd name="connsiteX75" fmla="*/ 331561 w 1901875"/>
                <a:gd name="connsiteY75" fmla="*/ 5004076 h 5067198"/>
                <a:gd name="connsiteX76" fmla="*/ 347726 w 1901875"/>
                <a:gd name="connsiteY76" fmla="*/ 5037096 h 5067198"/>
                <a:gd name="connsiteX77" fmla="*/ 385445 w 1901875"/>
                <a:gd name="connsiteY77" fmla="*/ 5032016 h 5067198"/>
                <a:gd name="connsiteX78" fmla="*/ 437983 w 1901875"/>
                <a:gd name="connsiteY78" fmla="*/ 5055511 h 5067198"/>
                <a:gd name="connsiteX79" fmla="*/ 490520 w 1901875"/>
                <a:gd name="connsiteY79" fmla="*/ 5032016 h 5067198"/>
                <a:gd name="connsiteX80" fmla="*/ 499950 w 1901875"/>
                <a:gd name="connsiteY80" fmla="*/ 5056146 h 5067198"/>
                <a:gd name="connsiteX81" fmla="*/ 553160 w 1901875"/>
                <a:gd name="connsiteY81" fmla="*/ 5065036 h 5067198"/>
                <a:gd name="connsiteX82" fmla="*/ 622537 w 1901875"/>
                <a:gd name="connsiteY82" fmla="*/ 5016776 h 5067198"/>
                <a:gd name="connsiteX83" fmla="*/ 665644 w 1901875"/>
                <a:gd name="connsiteY83" fmla="*/ 4879616 h 5067198"/>
                <a:gd name="connsiteX84" fmla="*/ 691239 w 1901875"/>
                <a:gd name="connsiteY84" fmla="*/ 4798336 h 5067198"/>
                <a:gd name="connsiteX85" fmla="*/ 715487 w 1901875"/>
                <a:gd name="connsiteY85" fmla="*/ 4651016 h 5067198"/>
                <a:gd name="connsiteX86" fmla="*/ 714140 w 1901875"/>
                <a:gd name="connsiteY86" fmla="*/ 4555131 h 5067198"/>
                <a:gd name="connsiteX87" fmla="*/ 713466 w 1901875"/>
                <a:gd name="connsiteY87" fmla="*/ 4434481 h 5067198"/>
                <a:gd name="connsiteX88" fmla="*/ 737799 w 1901875"/>
                <a:gd name="connsiteY88" fmla="*/ 4339271 h 5067198"/>
                <a:gd name="connsiteX89" fmla="*/ 751291 w 1901875"/>
                <a:gd name="connsiteY89" fmla="*/ 4286592 h 5067198"/>
                <a:gd name="connsiteX90" fmla="*/ 757689 w 1901875"/>
                <a:gd name="connsiteY90" fmla="*/ 4280100 h 5067198"/>
                <a:gd name="connsiteX91" fmla="*/ 773116 w 1901875"/>
                <a:gd name="connsiteY91" fmla="*/ 4141016 h 5067198"/>
                <a:gd name="connsiteX92" fmla="*/ 773116 w 1901875"/>
                <a:gd name="connsiteY92" fmla="*/ 3924762 h 5067198"/>
                <a:gd name="connsiteX93" fmla="*/ 828308 w 1901875"/>
                <a:gd name="connsiteY93" fmla="*/ 3771019 h 5067198"/>
                <a:gd name="connsiteX94" fmla="*/ 850793 w 1901875"/>
                <a:gd name="connsiteY94" fmla="*/ 3576729 h 5067198"/>
                <a:gd name="connsiteX95" fmla="*/ 920294 w 1901875"/>
                <a:gd name="connsiteY95" fmla="*/ 3282758 h 5067198"/>
                <a:gd name="connsiteX96" fmla="*/ 934227 w 1901875"/>
                <a:gd name="connsiteY96" fmla="*/ 3241952 h 5067198"/>
                <a:gd name="connsiteX97" fmla="*/ 950962 w 1901875"/>
                <a:gd name="connsiteY97" fmla="*/ 3207193 h 5067198"/>
                <a:gd name="connsiteX98" fmla="*/ 961970 w 1901875"/>
                <a:gd name="connsiteY98" fmla="*/ 3229447 h 5067198"/>
                <a:gd name="connsiteX99" fmla="*/ 981581 w 1901875"/>
                <a:gd name="connsiteY99" fmla="*/ 3282758 h 5067198"/>
                <a:gd name="connsiteX100" fmla="*/ 1051082 w 1901875"/>
                <a:gd name="connsiteY100" fmla="*/ 3576729 h 5067198"/>
                <a:gd name="connsiteX101" fmla="*/ 1073567 w 1901875"/>
                <a:gd name="connsiteY101" fmla="*/ 3771019 h 5067198"/>
                <a:gd name="connsiteX102" fmla="*/ 1128759 w 1901875"/>
                <a:gd name="connsiteY102" fmla="*/ 3924762 h 5067198"/>
                <a:gd name="connsiteX103" fmla="*/ 1128759 w 1901875"/>
                <a:gd name="connsiteY103" fmla="*/ 4141016 h 5067198"/>
                <a:gd name="connsiteX104" fmla="*/ 1144186 w 1901875"/>
                <a:gd name="connsiteY104" fmla="*/ 4280100 h 5067198"/>
                <a:gd name="connsiteX105" fmla="*/ 1150584 w 1901875"/>
                <a:gd name="connsiteY105" fmla="*/ 4286592 h 5067198"/>
                <a:gd name="connsiteX106" fmla="*/ 1164076 w 1901875"/>
                <a:gd name="connsiteY106" fmla="*/ 4339271 h 5067198"/>
                <a:gd name="connsiteX107" fmla="*/ 1188409 w 1901875"/>
                <a:gd name="connsiteY107" fmla="*/ 4434481 h 5067198"/>
                <a:gd name="connsiteX108" fmla="*/ 1187735 w 1901875"/>
                <a:gd name="connsiteY108" fmla="*/ 4555131 h 5067198"/>
                <a:gd name="connsiteX109" fmla="*/ 1186388 w 1901875"/>
                <a:gd name="connsiteY109" fmla="*/ 4651016 h 5067198"/>
                <a:gd name="connsiteX110" fmla="*/ 1210636 w 1901875"/>
                <a:gd name="connsiteY110" fmla="*/ 4798336 h 5067198"/>
                <a:gd name="connsiteX111" fmla="*/ 1236231 w 1901875"/>
                <a:gd name="connsiteY111" fmla="*/ 4879616 h 5067198"/>
                <a:gd name="connsiteX112" fmla="*/ 1279338 w 1901875"/>
                <a:gd name="connsiteY112" fmla="*/ 5016776 h 5067198"/>
                <a:gd name="connsiteX113" fmla="*/ 1348715 w 1901875"/>
                <a:gd name="connsiteY113" fmla="*/ 5065036 h 5067198"/>
                <a:gd name="connsiteX114" fmla="*/ 1401925 w 1901875"/>
                <a:gd name="connsiteY114" fmla="*/ 5056146 h 5067198"/>
                <a:gd name="connsiteX115" fmla="*/ 1411355 w 1901875"/>
                <a:gd name="connsiteY115" fmla="*/ 5032016 h 5067198"/>
                <a:gd name="connsiteX116" fmla="*/ 1463892 w 1901875"/>
                <a:gd name="connsiteY116" fmla="*/ 5055511 h 5067198"/>
                <a:gd name="connsiteX117" fmla="*/ 1516430 w 1901875"/>
                <a:gd name="connsiteY117" fmla="*/ 5032016 h 5067198"/>
                <a:gd name="connsiteX118" fmla="*/ 1554149 w 1901875"/>
                <a:gd name="connsiteY118" fmla="*/ 5037096 h 5067198"/>
                <a:gd name="connsiteX119" fmla="*/ 1570314 w 1901875"/>
                <a:gd name="connsiteY119" fmla="*/ 5004076 h 5067198"/>
                <a:gd name="connsiteX120" fmla="*/ 1589174 w 1901875"/>
                <a:gd name="connsiteY120" fmla="*/ 5004076 h 5067198"/>
                <a:gd name="connsiteX121" fmla="*/ 1599950 w 1901875"/>
                <a:gd name="connsiteY121" fmla="*/ 5004076 h 5067198"/>
                <a:gd name="connsiteX122" fmla="*/ 1605339 w 1901875"/>
                <a:gd name="connsiteY122" fmla="*/ 4981216 h 5067198"/>
                <a:gd name="connsiteX123" fmla="*/ 1613421 w 1901875"/>
                <a:gd name="connsiteY123" fmla="*/ 4976771 h 5067198"/>
                <a:gd name="connsiteX124" fmla="*/ 1582438 w 1901875"/>
                <a:gd name="connsiteY124" fmla="*/ 4906921 h 5067198"/>
                <a:gd name="connsiteX125" fmla="*/ 1494876 w 1901875"/>
                <a:gd name="connsiteY125" fmla="*/ 4778016 h 5067198"/>
                <a:gd name="connsiteX126" fmla="*/ 1456483 w 1901875"/>
                <a:gd name="connsiteY126" fmla="*/ 4651016 h 5067198"/>
                <a:gd name="connsiteX127" fmla="*/ 1451768 w 1901875"/>
                <a:gd name="connsiteY127" fmla="*/ 4539256 h 5067198"/>
                <a:gd name="connsiteX128" fmla="*/ 1458504 w 1901875"/>
                <a:gd name="connsiteY128" fmla="*/ 4452261 h 5067198"/>
                <a:gd name="connsiteX129" fmla="*/ 1483305 w 1901875"/>
                <a:gd name="connsiteY129" fmla="*/ 4281808 h 5067198"/>
                <a:gd name="connsiteX130" fmla="*/ 1483073 w 1901875"/>
                <a:gd name="connsiteY130" fmla="*/ 4276349 h 5067198"/>
                <a:gd name="connsiteX131" fmla="*/ 1484438 w 1901875"/>
                <a:gd name="connsiteY131" fmla="*/ 4273218 h 5067198"/>
                <a:gd name="connsiteX132" fmla="*/ 1494659 w 1901875"/>
                <a:gd name="connsiteY132" fmla="*/ 4205216 h 5067198"/>
                <a:gd name="connsiteX133" fmla="*/ 1504880 w 1901875"/>
                <a:gd name="connsiteY133" fmla="*/ 4036268 h 5067198"/>
                <a:gd name="connsiteX134" fmla="*/ 1484438 w 1901875"/>
                <a:gd name="connsiteY134" fmla="*/ 3914625 h 5067198"/>
                <a:gd name="connsiteX135" fmla="*/ 1484438 w 1901875"/>
                <a:gd name="connsiteY135" fmla="*/ 3813256 h 5067198"/>
                <a:gd name="connsiteX136" fmla="*/ 1468085 w 1901875"/>
                <a:gd name="connsiteY136" fmla="*/ 3674719 h 5067198"/>
                <a:gd name="connsiteX137" fmla="*/ 1478306 w 1901875"/>
                <a:gd name="connsiteY137" fmla="*/ 3559834 h 5067198"/>
                <a:gd name="connsiteX138" fmla="*/ 1502836 w 1901875"/>
                <a:gd name="connsiteY138" fmla="*/ 3417917 h 5067198"/>
                <a:gd name="connsiteX139" fmla="*/ 1533498 w 1901875"/>
                <a:gd name="connsiteY139" fmla="*/ 3238832 h 5067198"/>
                <a:gd name="connsiteX140" fmla="*/ 1552228 w 1901875"/>
                <a:gd name="connsiteY140" fmla="*/ 3137927 h 5067198"/>
                <a:gd name="connsiteX141" fmla="*/ 1568291 w 1901875"/>
                <a:gd name="connsiteY141" fmla="*/ 3051969 h 5067198"/>
                <a:gd name="connsiteX142" fmla="*/ 1570928 w 1901875"/>
                <a:gd name="connsiteY142" fmla="*/ 3049039 h 5067198"/>
                <a:gd name="connsiteX143" fmla="*/ 1607504 w 1901875"/>
                <a:gd name="connsiteY143" fmla="*/ 2759479 h 5067198"/>
                <a:gd name="connsiteX144" fmla="*/ 1620458 w 1901875"/>
                <a:gd name="connsiteY144" fmla="*/ 2412769 h 5067198"/>
                <a:gd name="connsiteX145" fmla="*/ 1534098 w 1901875"/>
                <a:gd name="connsiteY145" fmla="*/ 1948584 h 5067198"/>
                <a:gd name="connsiteX146" fmla="*/ 1516318 w 1901875"/>
                <a:gd name="connsiteY146" fmla="*/ 1778404 h 5067198"/>
                <a:gd name="connsiteX147" fmla="*/ 1627443 w 1901875"/>
                <a:gd name="connsiteY147" fmla="*/ 2200679 h 5067198"/>
                <a:gd name="connsiteX148" fmla="*/ 1695388 w 1901875"/>
                <a:gd name="connsiteY148" fmla="*/ 2553739 h 5067198"/>
                <a:gd name="connsiteX149" fmla="*/ 1760158 w 1901875"/>
                <a:gd name="connsiteY149" fmla="*/ 2759479 h 5067198"/>
                <a:gd name="connsiteX150" fmla="*/ 1748728 w 1901875"/>
                <a:gd name="connsiteY150" fmla="*/ 2816629 h 5067198"/>
                <a:gd name="connsiteX151" fmla="*/ 1703008 w 1901875"/>
                <a:gd name="connsiteY151" fmla="*/ 2881399 h 5067198"/>
                <a:gd name="connsiteX152" fmla="*/ 1676338 w 1901875"/>
                <a:gd name="connsiteY152" fmla="*/ 3022369 h 5067198"/>
                <a:gd name="connsiteX153" fmla="*/ 1634428 w 1901875"/>
                <a:gd name="connsiteY153" fmla="*/ 3075709 h 5067198"/>
                <a:gd name="connsiteX154" fmla="*/ 1634428 w 1901875"/>
                <a:gd name="connsiteY154" fmla="*/ 3106189 h 5067198"/>
                <a:gd name="connsiteX155" fmla="*/ 1661098 w 1901875"/>
                <a:gd name="connsiteY155" fmla="*/ 3117619 h 5067198"/>
                <a:gd name="connsiteX156" fmla="*/ 1714438 w 1901875"/>
                <a:gd name="connsiteY156" fmla="*/ 3079519 h 5067198"/>
                <a:gd name="connsiteX157" fmla="*/ 1748728 w 1901875"/>
                <a:gd name="connsiteY157" fmla="*/ 3022369 h 5067198"/>
                <a:gd name="connsiteX158" fmla="*/ 1763968 w 1901875"/>
                <a:gd name="connsiteY158" fmla="*/ 3029989 h 5067198"/>
                <a:gd name="connsiteX159" fmla="*/ 1771588 w 1901875"/>
                <a:gd name="connsiteY159" fmla="*/ 3064279 h 5067198"/>
                <a:gd name="connsiteX160" fmla="*/ 1775398 w 1901875"/>
                <a:gd name="connsiteY160" fmla="*/ 3125239 h 5067198"/>
                <a:gd name="connsiteX161" fmla="*/ 1760158 w 1901875"/>
                <a:gd name="connsiteY161" fmla="*/ 3159529 h 5067198"/>
                <a:gd name="connsiteX162" fmla="*/ 1748728 w 1901875"/>
                <a:gd name="connsiteY162" fmla="*/ 3193819 h 5067198"/>
                <a:gd name="connsiteX163" fmla="*/ 1714438 w 1901875"/>
                <a:gd name="connsiteY163" fmla="*/ 3224299 h 5067198"/>
                <a:gd name="connsiteX164" fmla="*/ 1668718 w 1901875"/>
                <a:gd name="connsiteY164" fmla="*/ 3270019 h 5067198"/>
                <a:gd name="connsiteX165" fmla="*/ 1668718 w 1901875"/>
                <a:gd name="connsiteY165" fmla="*/ 3296689 h 5067198"/>
                <a:gd name="connsiteX166" fmla="*/ 1695388 w 1901875"/>
                <a:gd name="connsiteY166" fmla="*/ 3300499 h 5067198"/>
                <a:gd name="connsiteX167" fmla="*/ 1783018 w 1901875"/>
                <a:gd name="connsiteY167" fmla="*/ 3235729 h 5067198"/>
                <a:gd name="connsiteX168" fmla="*/ 1855408 w 1901875"/>
                <a:gd name="connsiteY168" fmla="*/ 3159529 h 5067198"/>
                <a:gd name="connsiteX169" fmla="*/ 1878268 w 1901875"/>
                <a:gd name="connsiteY169" fmla="*/ 3022369 h 5067198"/>
                <a:gd name="connsiteX170" fmla="*/ 1897318 w 1901875"/>
                <a:gd name="connsiteY170" fmla="*/ 2911879 h 5067198"/>
                <a:gd name="connsiteX171" fmla="*/ 1901128 w 1901875"/>
                <a:gd name="connsiteY171" fmla="*/ 2801389 h 5067198"/>
                <a:gd name="connsiteX172" fmla="*/ 1885888 w 1901875"/>
                <a:gd name="connsiteY172" fmla="*/ 2389909 h 5067198"/>
                <a:gd name="connsiteX173" fmla="*/ 1870648 w 1901875"/>
                <a:gd name="connsiteY173" fmla="*/ 2115589 h 5067198"/>
                <a:gd name="connsiteX174" fmla="*/ 1824928 w 1901875"/>
                <a:gd name="connsiteY174" fmla="*/ 1936519 h 5067198"/>
                <a:gd name="connsiteX175" fmla="*/ 1813498 w 1901875"/>
                <a:gd name="connsiteY175" fmla="*/ 1757449 h 5067198"/>
                <a:gd name="connsiteX176" fmla="*/ 1780478 w 1901875"/>
                <a:gd name="connsiteY176" fmla="*/ 1569489 h 5067198"/>
                <a:gd name="connsiteX177" fmla="*/ 1695388 w 1901875"/>
                <a:gd name="connsiteY177" fmla="*/ 1353589 h 5067198"/>
                <a:gd name="connsiteX178" fmla="*/ 1584898 w 1901875"/>
                <a:gd name="connsiteY178" fmla="*/ 1246910 h 5067198"/>
                <a:gd name="connsiteX179" fmla="*/ 1299148 w 1901875"/>
                <a:gd name="connsiteY179" fmla="*/ 1150389 h 5067198"/>
                <a:gd name="connsiteX180" fmla="*/ 1210104 w 1901875"/>
                <a:gd name="connsiteY180" fmla="*/ 1078684 h 5067198"/>
                <a:gd name="connsiteX181" fmla="*/ 1209931 w 1901875"/>
                <a:gd name="connsiteY181" fmla="*/ 1077926 h 5067198"/>
                <a:gd name="connsiteX182" fmla="*/ 1204334 w 1901875"/>
                <a:gd name="connsiteY182" fmla="*/ 1024802 h 5067198"/>
                <a:gd name="connsiteX183" fmla="*/ 1210883 w 1901875"/>
                <a:gd name="connsiteY183" fmla="*/ 946935 h 5067198"/>
                <a:gd name="connsiteX184" fmla="*/ 1245173 w 1901875"/>
                <a:gd name="connsiteY184" fmla="*/ 878355 h 5067198"/>
                <a:gd name="connsiteX185" fmla="*/ 1269938 w 1901875"/>
                <a:gd name="connsiteY185" fmla="*/ 819300 h 5067198"/>
                <a:gd name="connsiteX186" fmla="*/ 1298513 w 1901875"/>
                <a:gd name="connsiteY186" fmla="*/ 830730 h 5067198"/>
                <a:gd name="connsiteX187" fmla="*/ 1328993 w 1901875"/>
                <a:gd name="connsiteY187" fmla="*/ 804060 h 5067198"/>
                <a:gd name="connsiteX188" fmla="*/ 1374713 w 1901875"/>
                <a:gd name="connsiteY188" fmla="*/ 708810 h 5067198"/>
                <a:gd name="connsiteX189" fmla="*/ 1405193 w 1901875"/>
                <a:gd name="connsiteY189" fmla="*/ 623084 h 5067198"/>
                <a:gd name="connsiteX190" fmla="*/ 1393763 w 1901875"/>
                <a:gd name="connsiteY190" fmla="*/ 577364 h 5067198"/>
                <a:gd name="connsiteX191" fmla="*/ 1365188 w 1901875"/>
                <a:gd name="connsiteY191" fmla="*/ 550694 h 5067198"/>
                <a:gd name="connsiteX192" fmla="*/ 1365188 w 1901875"/>
                <a:gd name="connsiteY192" fmla="*/ 337334 h 5067198"/>
                <a:gd name="connsiteX193" fmla="*/ 1288988 w 1901875"/>
                <a:gd name="connsiteY193" fmla="*/ 127785 h 5067198"/>
                <a:gd name="connsiteX194" fmla="*/ 1009042 w 1901875"/>
                <a:gd name="connsiteY194" fmla="*/ 1 h 5067198"/>
                <a:gd name="connsiteX195" fmla="*/ 951051 w 1901875"/>
                <a:gd name="connsiteY195" fmla="*/ 86 h 506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</a:cxnLst>
              <a:rect l="l" t="t" r="r" b="b"/>
              <a:pathLst>
                <a:path w="1901875" h="5067198">
                  <a:moveTo>
                    <a:pt x="892833" y="0"/>
                  </a:moveTo>
                  <a:cubicBezTo>
                    <a:pt x="787909" y="9734"/>
                    <a:pt x="677181" y="49918"/>
                    <a:pt x="612887" y="127784"/>
                  </a:cubicBezTo>
                  <a:cubicBezTo>
                    <a:pt x="546251" y="208487"/>
                    <a:pt x="549387" y="266849"/>
                    <a:pt x="536687" y="337334"/>
                  </a:cubicBezTo>
                  <a:cubicBezTo>
                    <a:pt x="523987" y="407819"/>
                    <a:pt x="541449" y="510689"/>
                    <a:pt x="536687" y="550694"/>
                  </a:cubicBezTo>
                  <a:cubicBezTo>
                    <a:pt x="531925" y="590699"/>
                    <a:pt x="514779" y="565299"/>
                    <a:pt x="508112" y="577364"/>
                  </a:cubicBezTo>
                  <a:cubicBezTo>
                    <a:pt x="501445" y="589429"/>
                    <a:pt x="493507" y="601177"/>
                    <a:pt x="496682" y="623084"/>
                  </a:cubicBezTo>
                  <a:cubicBezTo>
                    <a:pt x="499857" y="644992"/>
                    <a:pt x="514462" y="678647"/>
                    <a:pt x="527162" y="708809"/>
                  </a:cubicBezTo>
                  <a:cubicBezTo>
                    <a:pt x="539862" y="738972"/>
                    <a:pt x="560182" y="783739"/>
                    <a:pt x="572882" y="804059"/>
                  </a:cubicBezTo>
                  <a:cubicBezTo>
                    <a:pt x="585582" y="824379"/>
                    <a:pt x="593520" y="828189"/>
                    <a:pt x="603362" y="830729"/>
                  </a:cubicBezTo>
                  <a:cubicBezTo>
                    <a:pt x="613204" y="833269"/>
                    <a:pt x="623047" y="811362"/>
                    <a:pt x="631937" y="819299"/>
                  </a:cubicBezTo>
                  <a:cubicBezTo>
                    <a:pt x="640827" y="827237"/>
                    <a:pt x="646860" y="857082"/>
                    <a:pt x="656702" y="878354"/>
                  </a:cubicBezTo>
                  <a:cubicBezTo>
                    <a:pt x="666544" y="899626"/>
                    <a:pt x="683690" y="909152"/>
                    <a:pt x="690992" y="946934"/>
                  </a:cubicBezTo>
                  <a:cubicBezTo>
                    <a:pt x="694643" y="965826"/>
                    <a:pt x="697342" y="995115"/>
                    <a:pt x="697541" y="1024801"/>
                  </a:cubicBezTo>
                  <a:lnTo>
                    <a:pt x="691944" y="1077926"/>
                  </a:lnTo>
                  <a:lnTo>
                    <a:pt x="691771" y="1078684"/>
                  </a:lnTo>
                  <a:cubicBezTo>
                    <a:pt x="679443" y="1105741"/>
                    <a:pt x="650431" y="1125624"/>
                    <a:pt x="602727" y="1150389"/>
                  </a:cubicBezTo>
                  <a:cubicBezTo>
                    <a:pt x="539121" y="1183409"/>
                    <a:pt x="383017" y="1213042"/>
                    <a:pt x="316977" y="1246909"/>
                  </a:cubicBezTo>
                  <a:cubicBezTo>
                    <a:pt x="250937" y="1280776"/>
                    <a:pt x="239084" y="1299826"/>
                    <a:pt x="206487" y="1353589"/>
                  </a:cubicBezTo>
                  <a:cubicBezTo>
                    <a:pt x="173890" y="1407352"/>
                    <a:pt x="141082" y="1502179"/>
                    <a:pt x="121397" y="1569489"/>
                  </a:cubicBezTo>
                  <a:cubicBezTo>
                    <a:pt x="101712" y="1636799"/>
                    <a:pt x="95785" y="1696277"/>
                    <a:pt x="88377" y="1757449"/>
                  </a:cubicBezTo>
                  <a:cubicBezTo>
                    <a:pt x="80969" y="1818621"/>
                    <a:pt x="86472" y="1876829"/>
                    <a:pt x="76947" y="1936519"/>
                  </a:cubicBezTo>
                  <a:cubicBezTo>
                    <a:pt x="67422" y="1996209"/>
                    <a:pt x="41387" y="2040024"/>
                    <a:pt x="31227" y="2115589"/>
                  </a:cubicBezTo>
                  <a:cubicBezTo>
                    <a:pt x="21067" y="2191154"/>
                    <a:pt x="21067" y="2275609"/>
                    <a:pt x="15987" y="2389909"/>
                  </a:cubicBezTo>
                  <a:cubicBezTo>
                    <a:pt x="10907" y="2504209"/>
                    <a:pt x="2652" y="2714394"/>
                    <a:pt x="747" y="2801389"/>
                  </a:cubicBezTo>
                  <a:cubicBezTo>
                    <a:pt x="-1158" y="2888384"/>
                    <a:pt x="747" y="2875049"/>
                    <a:pt x="4557" y="2911879"/>
                  </a:cubicBezTo>
                  <a:cubicBezTo>
                    <a:pt x="8367" y="2948709"/>
                    <a:pt x="16622" y="2981094"/>
                    <a:pt x="23607" y="3022369"/>
                  </a:cubicBezTo>
                  <a:cubicBezTo>
                    <a:pt x="30592" y="3063644"/>
                    <a:pt x="30592" y="3123969"/>
                    <a:pt x="46467" y="3159529"/>
                  </a:cubicBezTo>
                  <a:cubicBezTo>
                    <a:pt x="62342" y="3195089"/>
                    <a:pt x="92187" y="3212234"/>
                    <a:pt x="118857" y="3235729"/>
                  </a:cubicBezTo>
                  <a:cubicBezTo>
                    <a:pt x="145527" y="3259224"/>
                    <a:pt x="187437" y="3290339"/>
                    <a:pt x="206487" y="3300499"/>
                  </a:cubicBezTo>
                  <a:cubicBezTo>
                    <a:pt x="225537" y="3310659"/>
                    <a:pt x="228712" y="3301769"/>
                    <a:pt x="233157" y="3296689"/>
                  </a:cubicBezTo>
                  <a:cubicBezTo>
                    <a:pt x="237602" y="3291609"/>
                    <a:pt x="240777" y="3282084"/>
                    <a:pt x="233157" y="3270019"/>
                  </a:cubicBezTo>
                  <a:cubicBezTo>
                    <a:pt x="225537" y="3257954"/>
                    <a:pt x="200772" y="3236999"/>
                    <a:pt x="187437" y="3224299"/>
                  </a:cubicBezTo>
                  <a:cubicBezTo>
                    <a:pt x="174102" y="3211599"/>
                    <a:pt x="160767" y="3204614"/>
                    <a:pt x="153147" y="3193819"/>
                  </a:cubicBezTo>
                  <a:cubicBezTo>
                    <a:pt x="145527" y="3183024"/>
                    <a:pt x="146162" y="3170959"/>
                    <a:pt x="141717" y="3159529"/>
                  </a:cubicBezTo>
                  <a:cubicBezTo>
                    <a:pt x="137272" y="3148099"/>
                    <a:pt x="128382" y="3141114"/>
                    <a:pt x="126477" y="3125239"/>
                  </a:cubicBezTo>
                  <a:cubicBezTo>
                    <a:pt x="124572" y="3109364"/>
                    <a:pt x="128382" y="3080154"/>
                    <a:pt x="130287" y="3064279"/>
                  </a:cubicBezTo>
                  <a:cubicBezTo>
                    <a:pt x="132192" y="3048404"/>
                    <a:pt x="137907" y="3029989"/>
                    <a:pt x="137907" y="3029989"/>
                  </a:cubicBezTo>
                  <a:cubicBezTo>
                    <a:pt x="141717" y="3023004"/>
                    <a:pt x="144892" y="3014114"/>
                    <a:pt x="153147" y="3022369"/>
                  </a:cubicBezTo>
                  <a:cubicBezTo>
                    <a:pt x="161402" y="3030624"/>
                    <a:pt x="172832" y="3063644"/>
                    <a:pt x="187437" y="3079519"/>
                  </a:cubicBezTo>
                  <a:cubicBezTo>
                    <a:pt x="202042" y="3095394"/>
                    <a:pt x="227442" y="3113174"/>
                    <a:pt x="240777" y="3117619"/>
                  </a:cubicBezTo>
                  <a:cubicBezTo>
                    <a:pt x="254112" y="3122064"/>
                    <a:pt x="263002" y="3113174"/>
                    <a:pt x="267447" y="3106189"/>
                  </a:cubicBezTo>
                  <a:cubicBezTo>
                    <a:pt x="271892" y="3099204"/>
                    <a:pt x="274432" y="3089679"/>
                    <a:pt x="267447" y="3075709"/>
                  </a:cubicBezTo>
                  <a:cubicBezTo>
                    <a:pt x="260462" y="3061739"/>
                    <a:pt x="236967" y="3054754"/>
                    <a:pt x="225537" y="3022369"/>
                  </a:cubicBezTo>
                  <a:cubicBezTo>
                    <a:pt x="214107" y="2989984"/>
                    <a:pt x="210932" y="2915689"/>
                    <a:pt x="198867" y="2881399"/>
                  </a:cubicBezTo>
                  <a:cubicBezTo>
                    <a:pt x="186802" y="2847109"/>
                    <a:pt x="162672" y="2836949"/>
                    <a:pt x="153147" y="2816629"/>
                  </a:cubicBezTo>
                  <a:cubicBezTo>
                    <a:pt x="143622" y="2796309"/>
                    <a:pt x="132827" y="2803294"/>
                    <a:pt x="141717" y="2759479"/>
                  </a:cubicBezTo>
                  <a:cubicBezTo>
                    <a:pt x="150607" y="2715664"/>
                    <a:pt x="184368" y="2646872"/>
                    <a:pt x="206487" y="2553739"/>
                  </a:cubicBezTo>
                  <a:cubicBezTo>
                    <a:pt x="228606" y="2460606"/>
                    <a:pt x="244587" y="2329901"/>
                    <a:pt x="274432" y="2200679"/>
                  </a:cubicBezTo>
                  <a:cubicBezTo>
                    <a:pt x="304277" y="2071457"/>
                    <a:pt x="379207" y="1833861"/>
                    <a:pt x="385557" y="1778404"/>
                  </a:cubicBezTo>
                  <a:cubicBezTo>
                    <a:pt x="369047" y="1831532"/>
                    <a:pt x="385134" y="1842857"/>
                    <a:pt x="367777" y="1948584"/>
                  </a:cubicBezTo>
                  <a:cubicBezTo>
                    <a:pt x="350420" y="2054312"/>
                    <a:pt x="283491" y="2323340"/>
                    <a:pt x="281417" y="2412769"/>
                  </a:cubicBezTo>
                  <a:cubicBezTo>
                    <a:pt x="278271" y="2548434"/>
                    <a:pt x="283999" y="2655551"/>
                    <a:pt x="294371" y="2759479"/>
                  </a:cubicBezTo>
                  <a:cubicBezTo>
                    <a:pt x="304743" y="2863407"/>
                    <a:pt x="325274" y="3015067"/>
                    <a:pt x="330947" y="3049039"/>
                  </a:cubicBezTo>
                  <a:lnTo>
                    <a:pt x="333584" y="3051969"/>
                  </a:lnTo>
                  <a:lnTo>
                    <a:pt x="349647" y="3137927"/>
                  </a:lnTo>
                  <a:cubicBezTo>
                    <a:pt x="356146" y="3172332"/>
                    <a:pt x="362756" y="3207444"/>
                    <a:pt x="368377" y="3238832"/>
                  </a:cubicBezTo>
                  <a:cubicBezTo>
                    <a:pt x="379621" y="3301608"/>
                    <a:pt x="389841" y="3364417"/>
                    <a:pt x="399039" y="3417917"/>
                  </a:cubicBezTo>
                  <a:cubicBezTo>
                    <a:pt x="408239" y="3471417"/>
                    <a:pt x="417778" y="3517033"/>
                    <a:pt x="423569" y="3559834"/>
                  </a:cubicBezTo>
                  <a:cubicBezTo>
                    <a:pt x="429360" y="3602634"/>
                    <a:pt x="434811" y="3632481"/>
                    <a:pt x="433790" y="3674719"/>
                  </a:cubicBezTo>
                  <a:cubicBezTo>
                    <a:pt x="432768" y="3716956"/>
                    <a:pt x="420162" y="3773272"/>
                    <a:pt x="417437" y="3813256"/>
                  </a:cubicBezTo>
                  <a:cubicBezTo>
                    <a:pt x="414711" y="3853241"/>
                    <a:pt x="420844" y="3877457"/>
                    <a:pt x="417437" y="3914625"/>
                  </a:cubicBezTo>
                  <a:cubicBezTo>
                    <a:pt x="414030" y="3951794"/>
                    <a:pt x="398699" y="3987836"/>
                    <a:pt x="396995" y="4036268"/>
                  </a:cubicBezTo>
                  <a:cubicBezTo>
                    <a:pt x="395292" y="4084700"/>
                    <a:pt x="400402" y="4157911"/>
                    <a:pt x="407216" y="4205216"/>
                  </a:cubicBezTo>
                  <a:cubicBezTo>
                    <a:pt x="410623" y="4228869"/>
                    <a:pt x="413178" y="4252803"/>
                    <a:pt x="417437" y="4273218"/>
                  </a:cubicBezTo>
                  <a:lnTo>
                    <a:pt x="418802" y="4276349"/>
                  </a:lnTo>
                  <a:lnTo>
                    <a:pt x="418570" y="4281808"/>
                  </a:lnTo>
                  <a:cubicBezTo>
                    <a:pt x="422259" y="4336632"/>
                    <a:pt x="439666" y="4414479"/>
                    <a:pt x="443371" y="4452261"/>
                  </a:cubicBezTo>
                  <a:cubicBezTo>
                    <a:pt x="448311" y="4502638"/>
                    <a:pt x="449770" y="4506130"/>
                    <a:pt x="450107" y="4539256"/>
                  </a:cubicBezTo>
                  <a:cubicBezTo>
                    <a:pt x="450443" y="4572382"/>
                    <a:pt x="452576" y="4611223"/>
                    <a:pt x="445392" y="4651016"/>
                  </a:cubicBezTo>
                  <a:cubicBezTo>
                    <a:pt x="438207" y="4690809"/>
                    <a:pt x="427992" y="4735365"/>
                    <a:pt x="406999" y="4778016"/>
                  </a:cubicBezTo>
                  <a:cubicBezTo>
                    <a:pt x="386006" y="4820667"/>
                    <a:pt x="339195" y="4873795"/>
                    <a:pt x="319437" y="4906921"/>
                  </a:cubicBezTo>
                  <a:cubicBezTo>
                    <a:pt x="299679" y="4940047"/>
                    <a:pt x="292270" y="4964389"/>
                    <a:pt x="288454" y="4976771"/>
                  </a:cubicBezTo>
                  <a:cubicBezTo>
                    <a:pt x="284637" y="4989153"/>
                    <a:pt x="294291" y="4976665"/>
                    <a:pt x="296536" y="4981216"/>
                  </a:cubicBezTo>
                  <a:cubicBezTo>
                    <a:pt x="298782" y="4985767"/>
                    <a:pt x="299230" y="5000266"/>
                    <a:pt x="301925" y="5004076"/>
                  </a:cubicBezTo>
                  <a:cubicBezTo>
                    <a:pt x="304619" y="5007886"/>
                    <a:pt x="312701" y="5004076"/>
                    <a:pt x="312701" y="5004076"/>
                  </a:cubicBezTo>
                  <a:cubicBezTo>
                    <a:pt x="317641" y="5004076"/>
                    <a:pt x="325724" y="4998573"/>
                    <a:pt x="331561" y="5004076"/>
                  </a:cubicBezTo>
                  <a:cubicBezTo>
                    <a:pt x="337398" y="5009579"/>
                    <a:pt x="338745" y="5032439"/>
                    <a:pt x="347726" y="5037096"/>
                  </a:cubicBezTo>
                  <a:cubicBezTo>
                    <a:pt x="356707" y="5041753"/>
                    <a:pt x="370402" y="5028947"/>
                    <a:pt x="385445" y="5032016"/>
                  </a:cubicBezTo>
                  <a:cubicBezTo>
                    <a:pt x="400488" y="5035085"/>
                    <a:pt x="420470" y="5055511"/>
                    <a:pt x="437983" y="5055511"/>
                  </a:cubicBezTo>
                  <a:cubicBezTo>
                    <a:pt x="455495" y="5055511"/>
                    <a:pt x="480192" y="5031910"/>
                    <a:pt x="490520" y="5032016"/>
                  </a:cubicBezTo>
                  <a:cubicBezTo>
                    <a:pt x="500848" y="5032122"/>
                    <a:pt x="489510" y="5050643"/>
                    <a:pt x="499950" y="5056146"/>
                  </a:cubicBezTo>
                  <a:cubicBezTo>
                    <a:pt x="510389" y="5061649"/>
                    <a:pt x="532729" y="5071598"/>
                    <a:pt x="553160" y="5065036"/>
                  </a:cubicBezTo>
                  <a:cubicBezTo>
                    <a:pt x="573592" y="5058474"/>
                    <a:pt x="603789" y="5047679"/>
                    <a:pt x="622537" y="5016776"/>
                  </a:cubicBezTo>
                  <a:cubicBezTo>
                    <a:pt x="641284" y="4985873"/>
                    <a:pt x="654194" y="4916023"/>
                    <a:pt x="665644" y="4879616"/>
                  </a:cubicBezTo>
                  <a:cubicBezTo>
                    <a:pt x="677094" y="4843209"/>
                    <a:pt x="682932" y="4836436"/>
                    <a:pt x="691239" y="4798336"/>
                  </a:cubicBezTo>
                  <a:cubicBezTo>
                    <a:pt x="699547" y="4760236"/>
                    <a:pt x="711671" y="4691550"/>
                    <a:pt x="715487" y="4651016"/>
                  </a:cubicBezTo>
                  <a:cubicBezTo>
                    <a:pt x="719304" y="4610482"/>
                    <a:pt x="714476" y="4591220"/>
                    <a:pt x="714140" y="4555131"/>
                  </a:cubicBezTo>
                  <a:cubicBezTo>
                    <a:pt x="713804" y="4519042"/>
                    <a:pt x="706170" y="4487609"/>
                    <a:pt x="713466" y="4434481"/>
                  </a:cubicBezTo>
                  <a:cubicBezTo>
                    <a:pt x="717114" y="4407917"/>
                    <a:pt x="727808" y="4374236"/>
                    <a:pt x="737799" y="4339271"/>
                  </a:cubicBezTo>
                  <a:lnTo>
                    <a:pt x="751291" y="4286592"/>
                  </a:lnTo>
                  <a:lnTo>
                    <a:pt x="757689" y="4280100"/>
                  </a:lnTo>
                  <a:cubicBezTo>
                    <a:pt x="776438" y="4243405"/>
                    <a:pt x="767495" y="4189180"/>
                    <a:pt x="773116" y="4141016"/>
                  </a:cubicBezTo>
                  <a:cubicBezTo>
                    <a:pt x="780611" y="4076797"/>
                    <a:pt x="763918" y="3986429"/>
                    <a:pt x="773116" y="3924762"/>
                  </a:cubicBezTo>
                  <a:cubicBezTo>
                    <a:pt x="782315" y="3863096"/>
                    <a:pt x="815361" y="3829025"/>
                    <a:pt x="828308" y="3771019"/>
                  </a:cubicBezTo>
                  <a:cubicBezTo>
                    <a:pt x="841254" y="3713013"/>
                    <a:pt x="835463" y="3658106"/>
                    <a:pt x="850793" y="3576729"/>
                  </a:cubicBezTo>
                  <a:cubicBezTo>
                    <a:pt x="866125" y="3495352"/>
                    <a:pt x="901896" y="3359903"/>
                    <a:pt x="920294" y="3282758"/>
                  </a:cubicBezTo>
                  <a:cubicBezTo>
                    <a:pt x="923743" y="3268294"/>
                    <a:pt x="928702" y="3254722"/>
                    <a:pt x="934227" y="3241952"/>
                  </a:cubicBezTo>
                  <a:lnTo>
                    <a:pt x="950962" y="3207193"/>
                  </a:lnTo>
                  <a:lnTo>
                    <a:pt x="961970" y="3229447"/>
                  </a:lnTo>
                  <a:cubicBezTo>
                    <a:pt x="969700" y="3245773"/>
                    <a:pt x="976982" y="3263473"/>
                    <a:pt x="981581" y="3282758"/>
                  </a:cubicBezTo>
                  <a:cubicBezTo>
                    <a:pt x="999979" y="3359903"/>
                    <a:pt x="1035750" y="3495352"/>
                    <a:pt x="1051082" y="3576729"/>
                  </a:cubicBezTo>
                  <a:cubicBezTo>
                    <a:pt x="1066412" y="3658106"/>
                    <a:pt x="1060621" y="3713013"/>
                    <a:pt x="1073567" y="3771019"/>
                  </a:cubicBezTo>
                  <a:cubicBezTo>
                    <a:pt x="1086514" y="3829025"/>
                    <a:pt x="1119560" y="3863096"/>
                    <a:pt x="1128759" y="3924762"/>
                  </a:cubicBezTo>
                  <a:cubicBezTo>
                    <a:pt x="1137957" y="3986429"/>
                    <a:pt x="1121264" y="4076797"/>
                    <a:pt x="1128759" y="4141016"/>
                  </a:cubicBezTo>
                  <a:cubicBezTo>
                    <a:pt x="1134380" y="4189180"/>
                    <a:pt x="1125437" y="4243405"/>
                    <a:pt x="1144186" y="4280100"/>
                  </a:cubicBezTo>
                  <a:lnTo>
                    <a:pt x="1150584" y="4286592"/>
                  </a:lnTo>
                  <a:lnTo>
                    <a:pt x="1164076" y="4339271"/>
                  </a:lnTo>
                  <a:cubicBezTo>
                    <a:pt x="1174067" y="4374236"/>
                    <a:pt x="1184760" y="4407917"/>
                    <a:pt x="1188409" y="4434481"/>
                  </a:cubicBezTo>
                  <a:cubicBezTo>
                    <a:pt x="1195705" y="4487609"/>
                    <a:pt x="1188071" y="4519042"/>
                    <a:pt x="1187735" y="4555131"/>
                  </a:cubicBezTo>
                  <a:cubicBezTo>
                    <a:pt x="1187399" y="4591220"/>
                    <a:pt x="1182571" y="4610482"/>
                    <a:pt x="1186388" y="4651016"/>
                  </a:cubicBezTo>
                  <a:cubicBezTo>
                    <a:pt x="1190204" y="4691550"/>
                    <a:pt x="1202328" y="4760236"/>
                    <a:pt x="1210636" y="4798336"/>
                  </a:cubicBezTo>
                  <a:cubicBezTo>
                    <a:pt x="1218943" y="4836436"/>
                    <a:pt x="1224781" y="4843209"/>
                    <a:pt x="1236231" y="4879616"/>
                  </a:cubicBezTo>
                  <a:cubicBezTo>
                    <a:pt x="1247681" y="4916023"/>
                    <a:pt x="1260591" y="4985873"/>
                    <a:pt x="1279338" y="5016776"/>
                  </a:cubicBezTo>
                  <a:cubicBezTo>
                    <a:pt x="1298086" y="5047679"/>
                    <a:pt x="1328283" y="5058474"/>
                    <a:pt x="1348715" y="5065036"/>
                  </a:cubicBezTo>
                  <a:cubicBezTo>
                    <a:pt x="1369146" y="5071598"/>
                    <a:pt x="1391486" y="5061649"/>
                    <a:pt x="1401925" y="5056146"/>
                  </a:cubicBezTo>
                  <a:cubicBezTo>
                    <a:pt x="1412365" y="5050643"/>
                    <a:pt x="1401027" y="5032122"/>
                    <a:pt x="1411355" y="5032016"/>
                  </a:cubicBezTo>
                  <a:cubicBezTo>
                    <a:pt x="1421683" y="5031910"/>
                    <a:pt x="1446380" y="5055511"/>
                    <a:pt x="1463892" y="5055511"/>
                  </a:cubicBezTo>
                  <a:cubicBezTo>
                    <a:pt x="1481405" y="5055511"/>
                    <a:pt x="1501387" y="5035085"/>
                    <a:pt x="1516430" y="5032016"/>
                  </a:cubicBezTo>
                  <a:cubicBezTo>
                    <a:pt x="1531473" y="5028947"/>
                    <a:pt x="1545168" y="5041753"/>
                    <a:pt x="1554149" y="5037096"/>
                  </a:cubicBezTo>
                  <a:cubicBezTo>
                    <a:pt x="1563130" y="5032439"/>
                    <a:pt x="1564477" y="5009579"/>
                    <a:pt x="1570314" y="5004076"/>
                  </a:cubicBezTo>
                  <a:cubicBezTo>
                    <a:pt x="1576151" y="4998573"/>
                    <a:pt x="1584234" y="5004076"/>
                    <a:pt x="1589174" y="5004076"/>
                  </a:cubicBezTo>
                  <a:cubicBezTo>
                    <a:pt x="1589174" y="5004076"/>
                    <a:pt x="1597256" y="5007886"/>
                    <a:pt x="1599950" y="5004076"/>
                  </a:cubicBezTo>
                  <a:cubicBezTo>
                    <a:pt x="1602645" y="5000266"/>
                    <a:pt x="1603093" y="4985767"/>
                    <a:pt x="1605339" y="4981216"/>
                  </a:cubicBezTo>
                  <a:cubicBezTo>
                    <a:pt x="1607584" y="4976665"/>
                    <a:pt x="1617238" y="4989153"/>
                    <a:pt x="1613421" y="4976771"/>
                  </a:cubicBezTo>
                  <a:cubicBezTo>
                    <a:pt x="1609605" y="4964389"/>
                    <a:pt x="1602196" y="4940047"/>
                    <a:pt x="1582438" y="4906921"/>
                  </a:cubicBezTo>
                  <a:cubicBezTo>
                    <a:pt x="1562680" y="4873795"/>
                    <a:pt x="1515869" y="4820667"/>
                    <a:pt x="1494876" y="4778016"/>
                  </a:cubicBezTo>
                  <a:cubicBezTo>
                    <a:pt x="1473883" y="4735365"/>
                    <a:pt x="1463668" y="4690809"/>
                    <a:pt x="1456483" y="4651016"/>
                  </a:cubicBezTo>
                  <a:cubicBezTo>
                    <a:pt x="1449299" y="4611223"/>
                    <a:pt x="1451432" y="4572382"/>
                    <a:pt x="1451768" y="4539256"/>
                  </a:cubicBezTo>
                  <a:cubicBezTo>
                    <a:pt x="1452105" y="4506130"/>
                    <a:pt x="1453564" y="4502638"/>
                    <a:pt x="1458504" y="4452261"/>
                  </a:cubicBezTo>
                  <a:cubicBezTo>
                    <a:pt x="1462209" y="4414479"/>
                    <a:pt x="1479616" y="4336632"/>
                    <a:pt x="1483305" y="4281808"/>
                  </a:cubicBezTo>
                  <a:lnTo>
                    <a:pt x="1483073" y="4276349"/>
                  </a:lnTo>
                  <a:lnTo>
                    <a:pt x="1484438" y="4273218"/>
                  </a:lnTo>
                  <a:cubicBezTo>
                    <a:pt x="1488697" y="4252803"/>
                    <a:pt x="1491252" y="4228869"/>
                    <a:pt x="1494659" y="4205216"/>
                  </a:cubicBezTo>
                  <a:cubicBezTo>
                    <a:pt x="1501473" y="4157911"/>
                    <a:pt x="1506583" y="4084700"/>
                    <a:pt x="1504880" y="4036268"/>
                  </a:cubicBezTo>
                  <a:cubicBezTo>
                    <a:pt x="1503176" y="3987836"/>
                    <a:pt x="1487845" y="3951794"/>
                    <a:pt x="1484438" y="3914625"/>
                  </a:cubicBezTo>
                  <a:cubicBezTo>
                    <a:pt x="1481031" y="3877457"/>
                    <a:pt x="1487164" y="3853241"/>
                    <a:pt x="1484438" y="3813256"/>
                  </a:cubicBezTo>
                  <a:cubicBezTo>
                    <a:pt x="1481713" y="3773272"/>
                    <a:pt x="1469107" y="3716956"/>
                    <a:pt x="1468085" y="3674719"/>
                  </a:cubicBezTo>
                  <a:cubicBezTo>
                    <a:pt x="1467064" y="3632481"/>
                    <a:pt x="1472515" y="3602634"/>
                    <a:pt x="1478306" y="3559834"/>
                  </a:cubicBezTo>
                  <a:cubicBezTo>
                    <a:pt x="1484097" y="3517033"/>
                    <a:pt x="1493636" y="3471417"/>
                    <a:pt x="1502836" y="3417917"/>
                  </a:cubicBezTo>
                  <a:cubicBezTo>
                    <a:pt x="1512034" y="3364417"/>
                    <a:pt x="1522254" y="3301608"/>
                    <a:pt x="1533498" y="3238832"/>
                  </a:cubicBezTo>
                  <a:cubicBezTo>
                    <a:pt x="1539119" y="3207444"/>
                    <a:pt x="1545729" y="3172332"/>
                    <a:pt x="1552228" y="3137927"/>
                  </a:cubicBezTo>
                  <a:lnTo>
                    <a:pt x="1568291" y="3051969"/>
                  </a:lnTo>
                  <a:lnTo>
                    <a:pt x="1570928" y="3049039"/>
                  </a:lnTo>
                  <a:cubicBezTo>
                    <a:pt x="1576601" y="3015067"/>
                    <a:pt x="1597132" y="2863407"/>
                    <a:pt x="1607504" y="2759479"/>
                  </a:cubicBezTo>
                  <a:cubicBezTo>
                    <a:pt x="1617876" y="2655551"/>
                    <a:pt x="1623604" y="2548434"/>
                    <a:pt x="1620458" y="2412769"/>
                  </a:cubicBezTo>
                  <a:cubicBezTo>
                    <a:pt x="1618384" y="2323340"/>
                    <a:pt x="1551455" y="2054312"/>
                    <a:pt x="1534098" y="1948584"/>
                  </a:cubicBezTo>
                  <a:cubicBezTo>
                    <a:pt x="1516741" y="1842857"/>
                    <a:pt x="1532828" y="1831532"/>
                    <a:pt x="1516318" y="1778404"/>
                  </a:cubicBezTo>
                  <a:cubicBezTo>
                    <a:pt x="1522668" y="1833861"/>
                    <a:pt x="1597598" y="2071457"/>
                    <a:pt x="1627443" y="2200679"/>
                  </a:cubicBezTo>
                  <a:cubicBezTo>
                    <a:pt x="1657288" y="2329901"/>
                    <a:pt x="1673269" y="2460606"/>
                    <a:pt x="1695388" y="2553739"/>
                  </a:cubicBezTo>
                  <a:cubicBezTo>
                    <a:pt x="1717507" y="2646872"/>
                    <a:pt x="1751268" y="2715664"/>
                    <a:pt x="1760158" y="2759479"/>
                  </a:cubicBezTo>
                  <a:cubicBezTo>
                    <a:pt x="1769048" y="2803294"/>
                    <a:pt x="1758253" y="2796309"/>
                    <a:pt x="1748728" y="2816629"/>
                  </a:cubicBezTo>
                  <a:cubicBezTo>
                    <a:pt x="1739203" y="2836949"/>
                    <a:pt x="1715073" y="2847109"/>
                    <a:pt x="1703008" y="2881399"/>
                  </a:cubicBezTo>
                  <a:cubicBezTo>
                    <a:pt x="1690943" y="2915689"/>
                    <a:pt x="1687768" y="2989984"/>
                    <a:pt x="1676338" y="3022369"/>
                  </a:cubicBezTo>
                  <a:cubicBezTo>
                    <a:pt x="1664908" y="3054754"/>
                    <a:pt x="1641413" y="3061739"/>
                    <a:pt x="1634428" y="3075709"/>
                  </a:cubicBezTo>
                  <a:cubicBezTo>
                    <a:pt x="1627443" y="3089679"/>
                    <a:pt x="1629983" y="3099204"/>
                    <a:pt x="1634428" y="3106189"/>
                  </a:cubicBezTo>
                  <a:cubicBezTo>
                    <a:pt x="1638873" y="3113174"/>
                    <a:pt x="1647763" y="3122064"/>
                    <a:pt x="1661098" y="3117619"/>
                  </a:cubicBezTo>
                  <a:cubicBezTo>
                    <a:pt x="1674433" y="3113174"/>
                    <a:pt x="1699833" y="3095394"/>
                    <a:pt x="1714438" y="3079519"/>
                  </a:cubicBezTo>
                  <a:cubicBezTo>
                    <a:pt x="1729043" y="3063644"/>
                    <a:pt x="1740473" y="3030624"/>
                    <a:pt x="1748728" y="3022369"/>
                  </a:cubicBezTo>
                  <a:cubicBezTo>
                    <a:pt x="1756983" y="3014114"/>
                    <a:pt x="1760158" y="3023004"/>
                    <a:pt x="1763968" y="3029989"/>
                  </a:cubicBezTo>
                  <a:cubicBezTo>
                    <a:pt x="1763968" y="3029989"/>
                    <a:pt x="1769683" y="3048404"/>
                    <a:pt x="1771588" y="3064279"/>
                  </a:cubicBezTo>
                  <a:cubicBezTo>
                    <a:pt x="1773493" y="3080154"/>
                    <a:pt x="1777303" y="3109364"/>
                    <a:pt x="1775398" y="3125239"/>
                  </a:cubicBezTo>
                  <a:cubicBezTo>
                    <a:pt x="1773493" y="3141114"/>
                    <a:pt x="1764603" y="3148099"/>
                    <a:pt x="1760158" y="3159529"/>
                  </a:cubicBezTo>
                  <a:cubicBezTo>
                    <a:pt x="1755713" y="3170959"/>
                    <a:pt x="1756348" y="3183024"/>
                    <a:pt x="1748728" y="3193819"/>
                  </a:cubicBezTo>
                  <a:cubicBezTo>
                    <a:pt x="1741108" y="3204614"/>
                    <a:pt x="1727773" y="3211599"/>
                    <a:pt x="1714438" y="3224299"/>
                  </a:cubicBezTo>
                  <a:cubicBezTo>
                    <a:pt x="1701103" y="3236999"/>
                    <a:pt x="1676338" y="3257954"/>
                    <a:pt x="1668718" y="3270019"/>
                  </a:cubicBezTo>
                  <a:cubicBezTo>
                    <a:pt x="1661098" y="3282084"/>
                    <a:pt x="1664273" y="3291609"/>
                    <a:pt x="1668718" y="3296689"/>
                  </a:cubicBezTo>
                  <a:cubicBezTo>
                    <a:pt x="1673163" y="3301769"/>
                    <a:pt x="1676338" y="3310659"/>
                    <a:pt x="1695388" y="3300499"/>
                  </a:cubicBezTo>
                  <a:cubicBezTo>
                    <a:pt x="1714438" y="3290339"/>
                    <a:pt x="1756348" y="3259224"/>
                    <a:pt x="1783018" y="3235729"/>
                  </a:cubicBezTo>
                  <a:cubicBezTo>
                    <a:pt x="1809688" y="3212234"/>
                    <a:pt x="1839533" y="3195089"/>
                    <a:pt x="1855408" y="3159529"/>
                  </a:cubicBezTo>
                  <a:cubicBezTo>
                    <a:pt x="1871283" y="3123969"/>
                    <a:pt x="1871283" y="3063644"/>
                    <a:pt x="1878268" y="3022369"/>
                  </a:cubicBezTo>
                  <a:cubicBezTo>
                    <a:pt x="1885253" y="2981094"/>
                    <a:pt x="1893508" y="2948709"/>
                    <a:pt x="1897318" y="2911879"/>
                  </a:cubicBezTo>
                  <a:cubicBezTo>
                    <a:pt x="1901128" y="2875049"/>
                    <a:pt x="1903033" y="2888384"/>
                    <a:pt x="1901128" y="2801389"/>
                  </a:cubicBezTo>
                  <a:cubicBezTo>
                    <a:pt x="1899223" y="2714394"/>
                    <a:pt x="1890968" y="2504209"/>
                    <a:pt x="1885888" y="2389909"/>
                  </a:cubicBezTo>
                  <a:cubicBezTo>
                    <a:pt x="1880808" y="2275609"/>
                    <a:pt x="1880808" y="2191154"/>
                    <a:pt x="1870648" y="2115589"/>
                  </a:cubicBezTo>
                  <a:cubicBezTo>
                    <a:pt x="1860488" y="2040024"/>
                    <a:pt x="1834453" y="1996209"/>
                    <a:pt x="1824928" y="1936519"/>
                  </a:cubicBezTo>
                  <a:cubicBezTo>
                    <a:pt x="1815403" y="1876829"/>
                    <a:pt x="1820906" y="1818621"/>
                    <a:pt x="1813498" y="1757449"/>
                  </a:cubicBezTo>
                  <a:cubicBezTo>
                    <a:pt x="1806090" y="1696278"/>
                    <a:pt x="1800163" y="1636799"/>
                    <a:pt x="1780478" y="1569489"/>
                  </a:cubicBezTo>
                  <a:cubicBezTo>
                    <a:pt x="1760793" y="1502179"/>
                    <a:pt x="1727985" y="1407352"/>
                    <a:pt x="1695388" y="1353589"/>
                  </a:cubicBezTo>
                  <a:cubicBezTo>
                    <a:pt x="1662791" y="1299826"/>
                    <a:pt x="1650938" y="1280777"/>
                    <a:pt x="1584898" y="1246910"/>
                  </a:cubicBezTo>
                  <a:cubicBezTo>
                    <a:pt x="1518858" y="1213042"/>
                    <a:pt x="1362754" y="1183409"/>
                    <a:pt x="1299148" y="1150389"/>
                  </a:cubicBezTo>
                  <a:cubicBezTo>
                    <a:pt x="1251443" y="1125624"/>
                    <a:pt x="1222432" y="1105741"/>
                    <a:pt x="1210104" y="1078684"/>
                  </a:cubicBezTo>
                  <a:lnTo>
                    <a:pt x="1209931" y="1077926"/>
                  </a:lnTo>
                  <a:lnTo>
                    <a:pt x="1204334" y="1024802"/>
                  </a:lnTo>
                  <a:cubicBezTo>
                    <a:pt x="1204533" y="995116"/>
                    <a:pt x="1207231" y="965826"/>
                    <a:pt x="1210883" y="946935"/>
                  </a:cubicBezTo>
                  <a:cubicBezTo>
                    <a:pt x="1218185" y="909153"/>
                    <a:pt x="1235331" y="899627"/>
                    <a:pt x="1245173" y="878355"/>
                  </a:cubicBezTo>
                  <a:cubicBezTo>
                    <a:pt x="1255015" y="857083"/>
                    <a:pt x="1261048" y="827238"/>
                    <a:pt x="1269938" y="819300"/>
                  </a:cubicBezTo>
                  <a:cubicBezTo>
                    <a:pt x="1278828" y="811363"/>
                    <a:pt x="1288671" y="833269"/>
                    <a:pt x="1298513" y="830730"/>
                  </a:cubicBezTo>
                  <a:cubicBezTo>
                    <a:pt x="1308355" y="828189"/>
                    <a:pt x="1316293" y="824380"/>
                    <a:pt x="1328993" y="804060"/>
                  </a:cubicBezTo>
                  <a:cubicBezTo>
                    <a:pt x="1341693" y="783740"/>
                    <a:pt x="1362013" y="738973"/>
                    <a:pt x="1374713" y="708810"/>
                  </a:cubicBezTo>
                  <a:cubicBezTo>
                    <a:pt x="1387413" y="678648"/>
                    <a:pt x="1402018" y="644992"/>
                    <a:pt x="1405193" y="623084"/>
                  </a:cubicBezTo>
                  <a:cubicBezTo>
                    <a:pt x="1408368" y="601178"/>
                    <a:pt x="1400430" y="589429"/>
                    <a:pt x="1393763" y="577364"/>
                  </a:cubicBezTo>
                  <a:cubicBezTo>
                    <a:pt x="1387096" y="565299"/>
                    <a:pt x="1369950" y="590700"/>
                    <a:pt x="1365188" y="550694"/>
                  </a:cubicBezTo>
                  <a:cubicBezTo>
                    <a:pt x="1360426" y="510689"/>
                    <a:pt x="1377888" y="407819"/>
                    <a:pt x="1365188" y="337334"/>
                  </a:cubicBezTo>
                  <a:cubicBezTo>
                    <a:pt x="1352488" y="266849"/>
                    <a:pt x="1355624" y="208488"/>
                    <a:pt x="1288988" y="127785"/>
                  </a:cubicBezTo>
                  <a:cubicBezTo>
                    <a:pt x="1224694" y="49918"/>
                    <a:pt x="1113966" y="9734"/>
                    <a:pt x="1009042" y="1"/>
                  </a:cubicBezTo>
                  <a:lnTo>
                    <a:pt x="951051" y="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bg1">
                  <a:lumMod val="75000"/>
                </a:schemeClr>
              </a:solidFill>
            </a:ln>
            <a:effectLst>
              <a:outerShdw blurRad="88900" dist="38100" dir="2700000" algn="tl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457063">
                <a:defRPr/>
              </a:pPr>
              <a:endParaRPr lang="en-US" sz="1799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2054" name="Freeform: Shape 2053">
              <a:extLst>
                <a:ext uri="{FF2B5EF4-FFF2-40B4-BE49-F238E27FC236}">
                  <a16:creationId xmlns:a16="http://schemas.microsoft.com/office/drawing/2014/main" id="{0F83330F-E68B-4058-81A2-714FF1EFEF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5184" y="2923751"/>
              <a:ext cx="1196122" cy="1280160"/>
            </a:xfrm>
            <a:custGeom>
              <a:avLst/>
              <a:gdLst>
                <a:gd name="connsiteX0" fmla="*/ 0 w 1682496"/>
                <a:gd name="connsiteY0" fmla="*/ 103632 h 1542288"/>
                <a:gd name="connsiteX1" fmla="*/ 1682496 w 1682496"/>
                <a:gd name="connsiteY1" fmla="*/ 0 h 1542288"/>
                <a:gd name="connsiteX2" fmla="*/ 1603248 w 1682496"/>
                <a:gd name="connsiteY2" fmla="*/ 1542288 h 1542288"/>
                <a:gd name="connsiteX3" fmla="*/ 0 w 1682496"/>
                <a:gd name="connsiteY3" fmla="*/ 103632 h 154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2496" h="1542288">
                  <a:moveTo>
                    <a:pt x="0" y="103632"/>
                  </a:moveTo>
                  <a:lnTo>
                    <a:pt x="1682496" y="0"/>
                  </a:lnTo>
                  <a:lnTo>
                    <a:pt x="1603248" y="1542288"/>
                  </a:lnTo>
                  <a:lnTo>
                    <a:pt x="0" y="10363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6"/>
                </a:gs>
                <a:gs pos="0">
                  <a:schemeClr val="accent6">
                    <a:lumMod val="40000"/>
                    <a:lumOff val="60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>
                <a:defRPr/>
              </a:pPr>
              <a:endParaRPr lang="en-US" sz="1799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2049" name="Rectangle: Rounded Corners 2048">
              <a:extLst>
                <a:ext uri="{FF2B5EF4-FFF2-40B4-BE49-F238E27FC236}">
                  <a16:creationId xmlns:a16="http://schemas.microsoft.com/office/drawing/2014/main" id="{A7935DF4-2291-4785-9036-88408B993A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90608" y="2899947"/>
              <a:ext cx="1139687" cy="1371600"/>
            </a:xfrm>
            <a:prstGeom prst="roundRect">
              <a:avLst>
                <a:gd name="adj" fmla="val 969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>
                <a:defRPr/>
              </a:pPr>
              <a:endParaRPr lang="en-US" sz="1799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2048" name="Group 2047">
              <a:extLst>
                <a:ext uri="{FF2B5EF4-FFF2-40B4-BE49-F238E27FC236}">
                  <a16:creationId xmlns:a16="http://schemas.microsoft.com/office/drawing/2014/main" id="{7C5E9121-C7A4-48E7-A9EF-B6435C8FD8C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60786" y="3059967"/>
              <a:ext cx="788166" cy="1097280"/>
              <a:chOff x="7287260" y="4480560"/>
              <a:chExt cx="926824" cy="1290320"/>
            </a:xfrm>
          </p:grpSpPr>
          <p:sp>
            <p:nvSpPr>
              <p:cNvPr id="21" name="Freeform 23">
                <a:extLst>
                  <a:ext uri="{FF2B5EF4-FFF2-40B4-BE49-F238E27FC236}">
                    <a16:creationId xmlns:a16="http://schemas.microsoft.com/office/drawing/2014/main" id="{18B3590A-F263-43D3-9246-557749EF24DB}"/>
                  </a:ext>
                </a:extLst>
              </p:cNvPr>
              <p:cNvSpPr/>
              <p:nvPr/>
            </p:nvSpPr>
            <p:spPr>
              <a:xfrm>
                <a:off x="7287260" y="4533122"/>
                <a:ext cx="838370" cy="1237758"/>
              </a:xfrm>
              <a:custGeom>
                <a:avLst/>
                <a:gdLst>
                  <a:gd name="connsiteX0" fmla="*/ 1431418 w 3362825"/>
                  <a:gd name="connsiteY0" fmla="*/ 1778 h 4964834"/>
                  <a:gd name="connsiteX1" fmla="*/ 1704976 w 3362825"/>
                  <a:gd name="connsiteY1" fmla="*/ 49212 h 4964834"/>
                  <a:gd name="connsiteX2" fmla="*/ 1669162 w 3362825"/>
                  <a:gd name="connsiteY2" fmla="*/ 493458 h 4964834"/>
                  <a:gd name="connsiteX3" fmla="*/ 1634883 w 3362825"/>
                  <a:gd name="connsiteY3" fmla="*/ 674340 h 4964834"/>
                  <a:gd name="connsiteX4" fmla="*/ 1715977 w 3362825"/>
                  <a:gd name="connsiteY4" fmla="*/ 698072 h 4964834"/>
                  <a:gd name="connsiteX5" fmla="*/ 2813703 w 3362825"/>
                  <a:gd name="connsiteY5" fmla="*/ 1302701 h 4964834"/>
                  <a:gd name="connsiteX6" fmla="*/ 3194703 w 3362825"/>
                  <a:gd name="connsiteY6" fmla="*/ 2118041 h 4964834"/>
                  <a:gd name="connsiteX7" fmla="*/ 3362343 w 3362825"/>
                  <a:gd name="connsiteY7" fmla="*/ 3169601 h 4964834"/>
                  <a:gd name="connsiteX8" fmla="*/ 3148983 w 3362825"/>
                  <a:gd name="connsiteY8" fmla="*/ 4434521 h 4964834"/>
                  <a:gd name="connsiteX9" fmla="*/ 2638443 w 3362825"/>
                  <a:gd name="connsiteY9" fmla="*/ 4960301 h 4964834"/>
                  <a:gd name="connsiteX10" fmla="*/ 1823103 w 3362825"/>
                  <a:gd name="connsiteY10" fmla="*/ 4678361 h 4964834"/>
                  <a:gd name="connsiteX11" fmla="*/ 1099203 w 3362825"/>
                  <a:gd name="connsiteY11" fmla="*/ 4213541 h 4964834"/>
                  <a:gd name="connsiteX12" fmla="*/ 405783 w 3362825"/>
                  <a:gd name="connsiteY12" fmla="*/ 3550601 h 4964834"/>
                  <a:gd name="connsiteX13" fmla="*/ 9543 w 3362825"/>
                  <a:gd name="connsiteY13" fmla="*/ 2643821 h 4964834"/>
                  <a:gd name="connsiteX14" fmla="*/ 93363 w 3362825"/>
                  <a:gd name="connsiteY14" fmla="*/ 1973261 h 4964834"/>
                  <a:gd name="connsiteX15" fmla="*/ 489603 w 3362825"/>
                  <a:gd name="connsiteY15" fmla="*/ 1218881 h 4964834"/>
                  <a:gd name="connsiteX16" fmla="*/ 864174 w 3362825"/>
                  <a:gd name="connsiteY16" fmla="*/ 830023 h 4964834"/>
                  <a:gd name="connsiteX17" fmla="*/ 950475 w 3362825"/>
                  <a:gd name="connsiteY17" fmla="*/ 764591 h 4964834"/>
                  <a:gd name="connsiteX18" fmla="*/ 965265 w 3362825"/>
                  <a:gd name="connsiteY18" fmla="*/ 690864 h 4964834"/>
                  <a:gd name="connsiteX19" fmla="*/ 1171576 w 3362825"/>
                  <a:gd name="connsiteY19" fmla="*/ 77787 h 4964834"/>
                  <a:gd name="connsiteX20" fmla="*/ 1431418 w 3362825"/>
                  <a:gd name="connsiteY20" fmla="*/ 1778 h 496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362825" h="4964834">
                    <a:moveTo>
                      <a:pt x="1431418" y="1778"/>
                    </a:moveTo>
                    <a:cubicBezTo>
                      <a:pt x="1518032" y="-5271"/>
                      <a:pt x="1606932" y="8255"/>
                      <a:pt x="1704976" y="49212"/>
                    </a:cubicBezTo>
                    <a:cubicBezTo>
                      <a:pt x="1705611" y="198437"/>
                      <a:pt x="1692530" y="345376"/>
                      <a:pt x="1669162" y="493458"/>
                    </a:cubicBezTo>
                    <a:lnTo>
                      <a:pt x="1634883" y="674340"/>
                    </a:lnTo>
                    <a:lnTo>
                      <a:pt x="1715977" y="698072"/>
                    </a:lnTo>
                    <a:cubicBezTo>
                      <a:pt x="2105281" y="833357"/>
                      <a:pt x="2585579" y="1115535"/>
                      <a:pt x="2813703" y="1302701"/>
                    </a:cubicBezTo>
                    <a:cubicBezTo>
                      <a:pt x="2949913" y="1564892"/>
                      <a:pt x="3103263" y="1806891"/>
                      <a:pt x="3194703" y="2118041"/>
                    </a:cubicBezTo>
                    <a:cubicBezTo>
                      <a:pt x="3286143" y="2429191"/>
                      <a:pt x="3369963" y="2783521"/>
                      <a:pt x="3362343" y="3169601"/>
                    </a:cubicBezTo>
                    <a:cubicBezTo>
                      <a:pt x="3354723" y="3555681"/>
                      <a:pt x="3269633" y="4136071"/>
                      <a:pt x="3148983" y="4434521"/>
                    </a:cubicBezTo>
                    <a:cubicBezTo>
                      <a:pt x="3028333" y="4732971"/>
                      <a:pt x="2859423" y="4919661"/>
                      <a:pt x="2638443" y="4960301"/>
                    </a:cubicBezTo>
                    <a:cubicBezTo>
                      <a:pt x="2417463" y="5000941"/>
                      <a:pt x="1950103" y="4757101"/>
                      <a:pt x="1823103" y="4678361"/>
                    </a:cubicBezTo>
                    <a:cubicBezTo>
                      <a:pt x="1696103" y="4599621"/>
                      <a:pt x="1335423" y="4401501"/>
                      <a:pt x="1099203" y="4213541"/>
                    </a:cubicBezTo>
                    <a:cubicBezTo>
                      <a:pt x="862983" y="4025581"/>
                      <a:pt x="587393" y="3812221"/>
                      <a:pt x="405783" y="3550601"/>
                    </a:cubicBezTo>
                    <a:cubicBezTo>
                      <a:pt x="224173" y="3288981"/>
                      <a:pt x="38753" y="2876231"/>
                      <a:pt x="9543" y="2643821"/>
                    </a:cubicBezTo>
                    <a:cubicBezTo>
                      <a:pt x="-19667" y="2411411"/>
                      <a:pt x="20973" y="2157411"/>
                      <a:pt x="93363" y="1973261"/>
                    </a:cubicBezTo>
                    <a:cubicBezTo>
                      <a:pt x="165753" y="1789111"/>
                      <a:pt x="276878" y="1444306"/>
                      <a:pt x="489603" y="1218881"/>
                    </a:cubicBezTo>
                    <a:cubicBezTo>
                      <a:pt x="595966" y="1106169"/>
                      <a:pt x="719156" y="953134"/>
                      <a:pt x="864174" y="830023"/>
                    </a:cubicBezTo>
                    <a:lnTo>
                      <a:pt x="950475" y="764591"/>
                    </a:lnTo>
                    <a:lnTo>
                      <a:pt x="965265" y="690864"/>
                    </a:lnTo>
                    <a:cubicBezTo>
                      <a:pt x="1013461" y="483933"/>
                      <a:pt x="1082232" y="275717"/>
                      <a:pt x="1171576" y="77787"/>
                    </a:cubicBezTo>
                    <a:cubicBezTo>
                      <a:pt x="1260476" y="36449"/>
                      <a:pt x="1344804" y="8826"/>
                      <a:pt x="1431418" y="1778"/>
                    </a:cubicBezTo>
                    <a:close/>
                  </a:path>
                </a:pathLst>
              </a:custGeom>
              <a:solidFill>
                <a:srgbClr val="B8212A"/>
              </a:solidFill>
              <a:ln>
                <a:noFill/>
              </a:ln>
              <a:effectLst>
                <a:innerShdw blurRad="901700">
                  <a:srgbClr val="601117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22" name="Freeform 6">
                <a:extLst>
                  <a:ext uri="{FF2B5EF4-FFF2-40B4-BE49-F238E27FC236}">
                    <a16:creationId xmlns:a16="http://schemas.microsoft.com/office/drawing/2014/main" id="{664EF5AF-2C33-4442-94FD-90C0CF1064E1}"/>
                  </a:ext>
                </a:extLst>
              </p:cNvPr>
              <p:cNvSpPr/>
              <p:nvPr/>
            </p:nvSpPr>
            <p:spPr>
              <a:xfrm>
                <a:off x="7971154" y="4648450"/>
                <a:ext cx="180092" cy="134499"/>
              </a:xfrm>
              <a:custGeom>
                <a:avLst/>
                <a:gdLst>
                  <a:gd name="connsiteX0" fmla="*/ 73152 w 722376"/>
                  <a:gd name="connsiteY0" fmla="*/ 539496 h 539496"/>
                  <a:gd name="connsiteX1" fmla="*/ 722376 w 722376"/>
                  <a:gd name="connsiteY1" fmla="*/ 91440 h 539496"/>
                  <a:gd name="connsiteX2" fmla="*/ 603504 w 722376"/>
                  <a:gd name="connsiteY2" fmla="*/ 0 h 539496"/>
                  <a:gd name="connsiteX3" fmla="*/ 0 w 722376"/>
                  <a:gd name="connsiteY3" fmla="*/ 420624 h 539496"/>
                  <a:gd name="connsiteX4" fmla="*/ 73152 w 722376"/>
                  <a:gd name="connsiteY4" fmla="*/ 539496 h 539496"/>
                  <a:gd name="connsiteX0" fmla="*/ 73152 w 722376"/>
                  <a:gd name="connsiteY0" fmla="*/ 539496 h 539496"/>
                  <a:gd name="connsiteX1" fmla="*/ 722376 w 722376"/>
                  <a:gd name="connsiteY1" fmla="*/ 91440 h 539496"/>
                  <a:gd name="connsiteX2" fmla="*/ 603504 w 722376"/>
                  <a:gd name="connsiteY2" fmla="*/ 0 h 539496"/>
                  <a:gd name="connsiteX3" fmla="*/ 0 w 722376"/>
                  <a:gd name="connsiteY3" fmla="*/ 420624 h 539496"/>
                  <a:gd name="connsiteX4" fmla="*/ 73152 w 722376"/>
                  <a:gd name="connsiteY4" fmla="*/ 539496 h 539496"/>
                  <a:gd name="connsiteX0" fmla="*/ 73152 w 722376"/>
                  <a:gd name="connsiteY0" fmla="*/ 539496 h 539496"/>
                  <a:gd name="connsiteX1" fmla="*/ 722376 w 722376"/>
                  <a:gd name="connsiteY1" fmla="*/ 91440 h 539496"/>
                  <a:gd name="connsiteX2" fmla="*/ 603504 w 722376"/>
                  <a:gd name="connsiteY2" fmla="*/ 0 h 539496"/>
                  <a:gd name="connsiteX3" fmla="*/ 0 w 722376"/>
                  <a:gd name="connsiteY3" fmla="*/ 420624 h 539496"/>
                  <a:gd name="connsiteX4" fmla="*/ 73152 w 722376"/>
                  <a:gd name="connsiteY4" fmla="*/ 539496 h 539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376" h="539496">
                    <a:moveTo>
                      <a:pt x="73152" y="539496"/>
                    </a:moveTo>
                    <a:lnTo>
                      <a:pt x="722376" y="91440"/>
                    </a:lnTo>
                    <a:cubicBezTo>
                      <a:pt x="698627" y="41910"/>
                      <a:pt x="665353" y="5080"/>
                      <a:pt x="603504" y="0"/>
                    </a:cubicBezTo>
                    <a:lnTo>
                      <a:pt x="0" y="420624"/>
                    </a:lnTo>
                    <a:lnTo>
                      <a:pt x="73152" y="539496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C7C802C7-5B56-4BB4-9433-13EAFDDDEC60}"/>
                  </a:ext>
                </a:extLst>
              </p:cNvPr>
              <p:cNvSpPr/>
              <p:nvPr/>
            </p:nvSpPr>
            <p:spPr>
              <a:xfrm>
                <a:off x="7932400" y="4719119"/>
                <a:ext cx="281684" cy="195860"/>
              </a:xfrm>
              <a:custGeom>
                <a:avLst/>
                <a:gdLst>
                  <a:gd name="connsiteX0" fmla="*/ 0 w 1106424"/>
                  <a:gd name="connsiteY0" fmla="*/ 146304 h 786384"/>
                  <a:gd name="connsiteX1" fmla="*/ 1005840 w 1106424"/>
                  <a:gd name="connsiteY1" fmla="*/ 0 h 786384"/>
                  <a:gd name="connsiteX2" fmla="*/ 1106424 w 1106424"/>
                  <a:gd name="connsiteY2" fmla="*/ 594360 h 786384"/>
                  <a:gd name="connsiteX3" fmla="*/ 0 w 1106424"/>
                  <a:gd name="connsiteY3" fmla="*/ 786384 h 786384"/>
                  <a:gd name="connsiteX4" fmla="*/ 0 w 1106424"/>
                  <a:gd name="connsiteY4" fmla="*/ 146304 h 786384"/>
                  <a:gd name="connsiteX0" fmla="*/ 0 w 1106424"/>
                  <a:gd name="connsiteY0" fmla="*/ 146304 h 786384"/>
                  <a:gd name="connsiteX1" fmla="*/ 1005840 w 1106424"/>
                  <a:gd name="connsiteY1" fmla="*/ 0 h 786384"/>
                  <a:gd name="connsiteX2" fmla="*/ 1106424 w 1106424"/>
                  <a:gd name="connsiteY2" fmla="*/ 594360 h 786384"/>
                  <a:gd name="connsiteX3" fmla="*/ 0 w 1106424"/>
                  <a:gd name="connsiteY3" fmla="*/ 786384 h 786384"/>
                  <a:gd name="connsiteX4" fmla="*/ 0 w 1106424"/>
                  <a:gd name="connsiteY4" fmla="*/ 146304 h 786384"/>
                  <a:gd name="connsiteX0" fmla="*/ 0 w 1129876"/>
                  <a:gd name="connsiteY0" fmla="*/ 146304 h 786384"/>
                  <a:gd name="connsiteX1" fmla="*/ 1005840 w 1129876"/>
                  <a:gd name="connsiteY1" fmla="*/ 0 h 786384"/>
                  <a:gd name="connsiteX2" fmla="*/ 1106424 w 1129876"/>
                  <a:gd name="connsiteY2" fmla="*/ 594360 h 786384"/>
                  <a:gd name="connsiteX3" fmla="*/ 0 w 1129876"/>
                  <a:gd name="connsiteY3" fmla="*/ 786384 h 786384"/>
                  <a:gd name="connsiteX4" fmla="*/ 0 w 1129876"/>
                  <a:gd name="connsiteY4" fmla="*/ 146304 h 786384"/>
                  <a:gd name="connsiteX0" fmla="*/ 338328 w 1468204"/>
                  <a:gd name="connsiteY0" fmla="*/ 146304 h 804672"/>
                  <a:gd name="connsiteX1" fmla="*/ 1344168 w 1468204"/>
                  <a:gd name="connsiteY1" fmla="*/ 0 h 804672"/>
                  <a:gd name="connsiteX2" fmla="*/ 1444752 w 1468204"/>
                  <a:gd name="connsiteY2" fmla="*/ 594360 h 804672"/>
                  <a:gd name="connsiteX3" fmla="*/ 0 w 1468204"/>
                  <a:gd name="connsiteY3" fmla="*/ 804672 h 804672"/>
                  <a:gd name="connsiteX4" fmla="*/ 338328 w 1468204"/>
                  <a:gd name="connsiteY4" fmla="*/ 146304 h 804672"/>
                  <a:gd name="connsiteX0" fmla="*/ 338328 w 1468204"/>
                  <a:gd name="connsiteY0" fmla="*/ 146304 h 804672"/>
                  <a:gd name="connsiteX1" fmla="*/ 1344168 w 1468204"/>
                  <a:gd name="connsiteY1" fmla="*/ 0 h 804672"/>
                  <a:gd name="connsiteX2" fmla="*/ 1444752 w 1468204"/>
                  <a:gd name="connsiteY2" fmla="*/ 594360 h 804672"/>
                  <a:gd name="connsiteX3" fmla="*/ 0 w 1468204"/>
                  <a:gd name="connsiteY3" fmla="*/ 804672 h 804672"/>
                  <a:gd name="connsiteX4" fmla="*/ 338328 w 1468204"/>
                  <a:gd name="connsiteY4" fmla="*/ 146304 h 804672"/>
                  <a:gd name="connsiteX0" fmla="*/ 338328 w 1468204"/>
                  <a:gd name="connsiteY0" fmla="*/ 146304 h 804672"/>
                  <a:gd name="connsiteX1" fmla="*/ 1344168 w 1468204"/>
                  <a:gd name="connsiteY1" fmla="*/ 0 h 804672"/>
                  <a:gd name="connsiteX2" fmla="*/ 1444752 w 1468204"/>
                  <a:gd name="connsiteY2" fmla="*/ 594360 h 804672"/>
                  <a:gd name="connsiteX3" fmla="*/ 0 w 1468204"/>
                  <a:gd name="connsiteY3" fmla="*/ 804672 h 804672"/>
                  <a:gd name="connsiteX4" fmla="*/ 338328 w 1468204"/>
                  <a:gd name="connsiteY4" fmla="*/ 146304 h 804672"/>
                  <a:gd name="connsiteX0" fmla="*/ 0 w 1129876"/>
                  <a:gd name="connsiteY0" fmla="*/ 146304 h 785622"/>
                  <a:gd name="connsiteX1" fmla="*/ 1005840 w 1129876"/>
                  <a:gd name="connsiteY1" fmla="*/ 0 h 785622"/>
                  <a:gd name="connsiteX2" fmla="*/ 1106424 w 1129876"/>
                  <a:gd name="connsiteY2" fmla="*/ 594360 h 785622"/>
                  <a:gd name="connsiteX3" fmla="*/ 353822 w 1129876"/>
                  <a:gd name="connsiteY3" fmla="*/ 785622 h 785622"/>
                  <a:gd name="connsiteX4" fmla="*/ 0 w 1129876"/>
                  <a:gd name="connsiteY4" fmla="*/ 146304 h 785622"/>
                  <a:gd name="connsiteX0" fmla="*/ 0 w 1129876"/>
                  <a:gd name="connsiteY0" fmla="*/ 146304 h 785622"/>
                  <a:gd name="connsiteX1" fmla="*/ 1005840 w 1129876"/>
                  <a:gd name="connsiteY1" fmla="*/ 0 h 785622"/>
                  <a:gd name="connsiteX2" fmla="*/ 1106424 w 1129876"/>
                  <a:gd name="connsiteY2" fmla="*/ 594360 h 785622"/>
                  <a:gd name="connsiteX3" fmla="*/ 353822 w 1129876"/>
                  <a:gd name="connsiteY3" fmla="*/ 785622 h 785622"/>
                  <a:gd name="connsiteX4" fmla="*/ 0 w 1129876"/>
                  <a:gd name="connsiteY4" fmla="*/ 146304 h 785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9876" h="785622">
                    <a:moveTo>
                      <a:pt x="0" y="146304"/>
                    </a:moveTo>
                    <a:cubicBezTo>
                      <a:pt x="335280" y="97536"/>
                      <a:pt x="670560" y="67056"/>
                      <a:pt x="1005840" y="0"/>
                    </a:cubicBezTo>
                    <a:cubicBezTo>
                      <a:pt x="1130808" y="207264"/>
                      <a:pt x="1155192" y="377952"/>
                      <a:pt x="1106424" y="594360"/>
                    </a:cubicBezTo>
                    <a:cubicBezTo>
                      <a:pt x="615696" y="609600"/>
                      <a:pt x="365506" y="652018"/>
                      <a:pt x="353822" y="785622"/>
                    </a:cubicBezTo>
                    <a:lnTo>
                      <a:pt x="0" y="146304"/>
                    </a:lnTo>
                    <a:close/>
                  </a:path>
                </a:pathLst>
              </a:custGeom>
              <a:solidFill>
                <a:srgbClr val="D61B30"/>
              </a:solidFill>
              <a:ln>
                <a:noFill/>
              </a:ln>
              <a:effectLst>
                <a:innerShdw blurRad="88900">
                  <a:schemeClr val="accent2">
                    <a:lumMod val="5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25" name="Freeform 22">
                <a:extLst>
                  <a:ext uri="{FF2B5EF4-FFF2-40B4-BE49-F238E27FC236}">
                    <a16:creationId xmlns:a16="http://schemas.microsoft.com/office/drawing/2014/main" id="{D81C5CF4-4882-44F8-A594-05D4C41FACB8}"/>
                  </a:ext>
                </a:extLst>
              </p:cNvPr>
              <p:cNvSpPr/>
              <p:nvPr/>
            </p:nvSpPr>
            <p:spPr>
              <a:xfrm>
                <a:off x="7545334" y="4480560"/>
                <a:ext cx="550801" cy="542303"/>
              </a:xfrm>
              <a:custGeom>
                <a:avLst/>
                <a:gdLst>
                  <a:gd name="connsiteX0" fmla="*/ 1198534 w 2209343"/>
                  <a:gd name="connsiteY0" fmla="*/ 345 h 2175260"/>
                  <a:gd name="connsiteX1" fmla="*/ 1314834 w 2209343"/>
                  <a:gd name="connsiteY1" fmla="*/ 10489 h 2175260"/>
                  <a:gd name="connsiteX2" fmla="*/ 1436958 w 2209343"/>
                  <a:gd name="connsiteY2" fmla="*/ 353964 h 2175260"/>
                  <a:gd name="connsiteX3" fmla="*/ 1463428 w 2209343"/>
                  <a:gd name="connsiteY3" fmla="*/ 359317 h 2175260"/>
                  <a:gd name="connsiteX4" fmla="*/ 1477139 w 2209343"/>
                  <a:gd name="connsiteY4" fmla="*/ 228299 h 2175260"/>
                  <a:gd name="connsiteX5" fmla="*/ 1510085 w 2209343"/>
                  <a:gd name="connsiteY5" fmla="*/ 97358 h 2175260"/>
                  <a:gd name="connsiteX6" fmla="*/ 1698882 w 2209343"/>
                  <a:gd name="connsiteY6" fmla="*/ 179654 h 2175260"/>
                  <a:gd name="connsiteX7" fmla="*/ 1651300 w 2209343"/>
                  <a:gd name="connsiteY7" fmla="*/ 412255 h 2175260"/>
                  <a:gd name="connsiteX8" fmla="*/ 1645990 w 2209343"/>
                  <a:gd name="connsiteY8" fmla="*/ 423664 h 2175260"/>
                  <a:gd name="connsiteX9" fmla="*/ 1652376 w 2209343"/>
                  <a:gd name="connsiteY9" fmla="*/ 426327 h 2175260"/>
                  <a:gd name="connsiteX10" fmla="*/ 1692869 w 2209343"/>
                  <a:gd name="connsiteY10" fmla="*/ 450082 h 2175260"/>
                  <a:gd name="connsiteX11" fmla="*/ 1803276 w 2209343"/>
                  <a:gd name="connsiteY11" fmla="*/ 256869 h 2175260"/>
                  <a:gd name="connsiteX12" fmla="*/ 1923926 w 2209343"/>
                  <a:gd name="connsiteY12" fmla="*/ 314019 h 2175260"/>
                  <a:gd name="connsiteX13" fmla="*/ 1858839 w 2209343"/>
                  <a:gd name="connsiteY13" fmla="*/ 479913 h 2175260"/>
                  <a:gd name="connsiteX14" fmla="*/ 1846052 w 2209343"/>
                  <a:gd name="connsiteY14" fmla="*/ 546387 h 2175260"/>
                  <a:gd name="connsiteX15" fmla="*/ 1884164 w 2209343"/>
                  <a:gd name="connsiteY15" fmla="*/ 575301 h 2175260"/>
                  <a:gd name="connsiteX16" fmla="*/ 2183514 w 2209343"/>
                  <a:gd name="connsiteY16" fmla="*/ 1158061 h 2175260"/>
                  <a:gd name="connsiteX17" fmla="*/ 1113666 w 2209343"/>
                  <a:gd name="connsiteY17" fmla="*/ 1853005 h 2175260"/>
                  <a:gd name="connsiteX18" fmla="*/ 254130 w 2209343"/>
                  <a:gd name="connsiteY18" fmla="*/ 2163901 h 2175260"/>
                  <a:gd name="connsiteX19" fmla="*/ 62106 w 2209343"/>
                  <a:gd name="connsiteY19" fmla="*/ 2026741 h 2175260"/>
                  <a:gd name="connsiteX20" fmla="*/ 25530 w 2209343"/>
                  <a:gd name="connsiteY20" fmla="*/ 1286077 h 2175260"/>
                  <a:gd name="connsiteX21" fmla="*/ 418722 w 2209343"/>
                  <a:gd name="connsiteY21" fmla="*/ 719149 h 2175260"/>
                  <a:gd name="connsiteX22" fmla="*/ 929036 w 2209343"/>
                  <a:gd name="connsiteY22" fmla="*/ 369105 h 2175260"/>
                  <a:gd name="connsiteX23" fmla="*/ 930046 w 2209343"/>
                  <a:gd name="connsiteY23" fmla="*/ 368880 h 2175260"/>
                  <a:gd name="connsiteX24" fmla="*/ 921642 w 2209343"/>
                  <a:gd name="connsiteY24" fmla="*/ 129361 h 2175260"/>
                  <a:gd name="connsiteX25" fmla="*/ 1198534 w 2209343"/>
                  <a:gd name="connsiteY25" fmla="*/ 345 h 2175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209343" h="2175260">
                    <a:moveTo>
                      <a:pt x="1198534" y="345"/>
                    </a:moveTo>
                    <a:cubicBezTo>
                      <a:pt x="1232728" y="-1132"/>
                      <a:pt x="1270638" y="2107"/>
                      <a:pt x="1314834" y="10489"/>
                    </a:cubicBezTo>
                    <a:lnTo>
                      <a:pt x="1436958" y="353964"/>
                    </a:lnTo>
                    <a:lnTo>
                      <a:pt x="1463428" y="359317"/>
                    </a:lnTo>
                    <a:lnTo>
                      <a:pt x="1477139" y="228299"/>
                    </a:lnTo>
                    <a:cubicBezTo>
                      <a:pt x="1483656" y="183536"/>
                      <a:pt x="1493299" y="139554"/>
                      <a:pt x="1510085" y="97358"/>
                    </a:cubicBezTo>
                    <a:cubicBezTo>
                      <a:pt x="1598418" y="99390"/>
                      <a:pt x="1635950" y="126822"/>
                      <a:pt x="1698882" y="179654"/>
                    </a:cubicBezTo>
                    <a:cubicBezTo>
                      <a:pt x="1699095" y="271475"/>
                      <a:pt x="1688592" y="327577"/>
                      <a:pt x="1651300" y="412255"/>
                    </a:cubicBezTo>
                    <a:lnTo>
                      <a:pt x="1645990" y="423664"/>
                    </a:lnTo>
                    <a:lnTo>
                      <a:pt x="1652376" y="426327"/>
                    </a:lnTo>
                    <a:lnTo>
                      <a:pt x="1692869" y="450082"/>
                    </a:lnTo>
                    <a:lnTo>
                      <a:pt x="1803276" y="256869"/>
                    </a:lnTo>
                    <a:cubicBezTo>
                      <a:pt x="1856193" y="250519"/>
                      <a:pt x="1883709" y="294969"/>
                      <a:pt x="1923926" y="314019"/>
                    </a:cubicBezTo>
                    <a:cubicBezTo>
                      <a:pt x="1887943" y="366936"/>
                      <a:pt x="1871009" y="423027"/>
                      <a:pt x="1858839" y="479913"/>
                    </a:cubicBezTo>
                    <a:lnTo>
                      <a:pt x="1846052" y="546387"/>
                    </a:lnTo>
                    <a:lnTo>
                      <a:pt x="1884164" y="575301"/>
                    </a:lnTo>
                    <a:cubicBezTo>
                      <a:pt x="2067666" y="723173"/>
                      <a:pt x="2284860" y="963370"/>
                      <a:pt x="2183514" y="1158061"/>
                    </a:cubicBezTo>
                    <a:cubicBezTo>
                      <a:pt x="2067690" y="1380565"/>
                      <a:pt x="1435230" y="1685365"/>
                      <a:pt x="1113666" y="1853005"/>
                    </a:cubicBezTo>
                    <a:cubicBezTo>
                      <a:pt x="792102" y="2020645"/>
                      <a:pt x="429390" y="2134945"/>
                      <a:pt x="254130" y="2163901"/>
                    </a:cubicBezTo>
                    <a:cubicBezTo>
                      <a:pt x="78870" y="2192857"/>
                      <a:pt x="100206" y="2173045"/>
                      <a:pt x="62106" y="2026741"/>
                    </a:cubicBezTo>
                    <a:cubicBezTo>
                      <a:pt x="24006" y="1880437"/>
                      <a:pt x="-33906" y="1558873"/>
                      <a:pt x="25530" y="1286077"/>
                    </a:cubicBezTo>
                    <a:cubicBezTo>
                      <a:pt x="84966" y="1013281"/>
                      <a:pt x="287658" y="868501"/>
                      <a:pt x="418722" y="719149"/>
                    </a:cubicBezTo>
                    <a:cubicBezTo>
                      <a:pt x="533403" y="588466"/>
                      <a:pt x="683088" y="439114"/>
                      <a:pt x="929036" y="369105"/>
                    </a:cubicBezTo>
                    <a:lnTo>
                      <a:pt x="930046" y="368880"/>
                    </a:lnTo>
                    <a:lnTo>
                      <a:pt x="921642" y="129361"/>
                    </a:lnTo>
                    <a:cubicBezTo>
                      <a:pt x="1026798" y="51637"/>
                      <a:pt x="1095949" y="4774"/>
                      <a:pt x="1198534" y="345"/>
                    </a:cubicBezTo>
                    <a:close/>
                  </a:path>
                </a:pathLst>
              </a:custGeom>
              <a:solidFill>
                <a:srgbClr val="E95D68"/>
              </a:solidFill>
              <a:ln>
                <a:noFill/>
              </a:ln>
              <a:effectLst>
                <a:innerShdw blurRad="190500">
                  <a:srgbClr val="490B0E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18819FB2-4627-4552-BD43-ED82223CEA16}"/>
                  </a:ext>
                </a:extLst>
              </p:cNvPr>
              <p:cNvGrpSpPr/>
              <p:nvPr/>
            </p:nvGrpSpPr>
            <p:grpSpPr>
              <a:xfrm>
                <a:off x="7307434" y="4979156"/>
                <a:ext cx="355023" cy="363048"/>
                <a:chOff x="80921" y="3063875"/>
                <a:chExt cx="1424048" cy="1456240"/>
              </a:xfrm>
              <a:solidFill>
                <a:srgbClr val="D44B49"/>
              </a:solidFill>
            </p:grpSpPr>
            <p:sp>
              <p:nvSpPr>
                <p:cNvPr id="34" name="Freeform 13">
                  <a:extLst>
                    <a:ext uri="{FF2B5EF4-FFF2-40B4-BE49-F238E27FC236}">
                      <a16:creationId xmlns:a16="http://schemas.microsoft.com/office/drawing/2014/main" id="{29950628-4EEE-4689-B2A9-D44DE0D95BF4}"/>
                    </a:ext>
                  </a:extLst>
                </p:cNvPr>
                <p:cNvSpPr/>
                <p:nvPr/>
              </p:nvSpPr>
              <p:spPr>
                <a:xfrm>
                  <a:off x="609600" y="3171396"/>
                  <a:ext cx="895369" cy="1348719"/>
                </a:xfrm>
                <a:custGeom>
                  <a:avLst/>
                  <a:gdLst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00038 w 895636"/>
                    <a:gd name="connsiteY2" fmla="*/ 456396 h 1361640"/>
                    <a:gd name="connsiteX3" fmla="*/ 290513 w 895636"/>
                    <a:gd name="connsiteY3" fmla="*/ 742146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42913 w 895636"/>
                    <a:gd name="connsiteY11" fmla="*/ 899308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00038 w 895636"/>
                    <a:gd name="connsiteY2" fmla="*/ 456396 h 1361640"/>
                    <a:gd name="connsiteX3" fmla="*/ 345282 w 895636"/>
                    <a:gd name="connsiteY3" fmla="*/ 696902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42913 w 895636"/>
                    <a:gd name="connsiteY11" fmla="*/ 899308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00038 w 895636"/>
                    <a:gd name="connsiteY2" fmla="*/ 456396 h 1361640"/>
                    <a:gd name="connsiteX3" fmla="*/ 345282 w 895636"/>
                    <a:gd name="connsiteY3" fmla="*/ 696902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57201 w 895636"/>
                    <a:gd name="connsiteY11" fmla="*/ 854064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00038 w 895636"/>
                    <a:gd name="connsiteY2" fmla="*/ 456396 h 1361640"/>
                    <a:gd name="connsiteX3" fmla="*/ 290514 w 895636"/>
                    <a:gd name="connsiteY3" fmla="*/ 644514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57201 w 895636"/>
                    <a:gd name="connsiteY11" fmla="*/ 854064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00038 w 895636"/>
                    <a:gd name="connsiteY2" fmla="*/ 456396 h 1361640"/>
                    <a:gd name="connsiteX3" fmla="*/ 290514 w 895636"/>
                    <a:gd name="connsiteY3" fmla="*/ 644514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57201 w 895636"/>
                    <a:gd name="connsiteY11" fmla="*/ 854064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00038 w 895636"/>
                    <a:gd name="connsiteY2" fmla="*/ 456396 h 1361640"/>
                    <a:gd name="connsiteX3" fmla="*/ 290514 w 895636"/>
                    <a:gd name="connsiteY3" fmla="*/ 644514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57201 w 895636"/>
                    <a:gd name="connsiteY11" fmla="*/ 854064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36"/>
                    <a:gd name="connsiteY0" fmla="*/ 13483 h 1361640"/>
                    <a:gd name="connsiteX1" fmla="*/ 485775 w 895636"/>
                    <a:gd name="connsiteY1" fmla="*/ 127783 h 1361640"/>
                    <a:gd name="connsiteX2" fmla="*/ 316707 w 895636"/>
                    <a:gd name="connsiteY2" fmla="*/ 389721 h 1361640"/>
                    <a:gd name="connsiteX3" fmla="*/ 290514 w 895636"/>
                    <a:gd name="connsiteY3" fmla="*/ 644514 h 1361640"/>
                    <a:gd name="connsiteX4" fmla="*/ 642938 w 895636"/>
                    <a:gd name="connsiteY4" fmla="*/ 994558 h 1361640"/>
                    <a:gd name="connsiteX5" fmla="*/ 766763 w 895636"/>
                    <a:gd name="connsiteY5" fmla="*/ 1361271 h 1361640"/>
                    <a:gd name="connsiteX6" fmla="*/ 676275 w 895636"/>
                    <a:gd name="connsiteY6" fmla="*/ 1065996 h 1361640"/>
                    <a:gd name="connsiteX7" fmla="*/ 585788 w 895636"/>
                    <a:gd name="connsiteY7" fmla="*/ 1194583 h 1361640"/>
                    <a:gd name="connsiteX8" fmla="*/ 576263 w 895636"/>
                    <a:gd name="connsiteY8" fmla="*/ 1346983 h 1361640"/>
                    <a:gd name="connsiteX9" fmla="*/ 604838 w 895636"/>
                    <a:gd name="connsiteY9" fmla="*/ 1156483 h 1361640"/>
                    <a:gd name="connsiteX10" fmla="*/ 600075 w 895636"/>
                    <a:gd name="connsiteY10" fmla="*/ 989796 h 1361640"/>
                    <a:gd name="connsiteX11" fmla="*/ 457201 w 895636"/>
                    <a:gd name="connsiteY11" fmla="*/ 854064 h 1361640"/>
                    <a:gd name="connsiteX12" fmla="*/ 252413 w 895636"/>
                    <a:gd name="connsiteY12" fmla="*/ 680233 h 1361640"/>
                    <a:gd name="connsiteX13" fmla="*/ 171450 w 895636"/>
                    <a:gd name="connsiteY13" fmla="*/ 1023133 h 1361640"/>
                    <a:gd name="connsiteX14" fmla="*/ 219075 w 895636"/>
                    <a:gd name="connsiteY14" fmla="*/ 1270783 h 1361640"/>
                    <a:gd name="connsiteX15" fmla="*/ 200025 w 895636"/>
                    <a:gd name="connsiteY15" fmla="*/ 1346983 h 1361640"/>
                    <a:gd name="connsiteX16" fmla="*/ 228600 w 895636"/>
                    <a:gd name="connsiteY16" fmla="*/ 1270783 h 1361640"/>
                    <a:gd name="connsiteX17" fmla="*/ 171450 w 895636"/>
                    <a:gd name="connsiteY17" fmla="*/ 1123146 h 1361640"/>
                    <a:gd name="connsiteX18" fmla="*/ 42863 w 895636"/>
                    <a:gd name="connsiteY18" fmla="*/ 1246971 h 1361640"/>
                    <a:gd name="connsiteX19" fmla="*/ 0 w 895636"/>
                    <a:gd name="connsiteY19" fmla="*/ 1351746 h 1361640"/>
                    <a:gd name="connsiteX20" fmla="*/ 42863 w 895636"/>
                    <a:gd name="connsiteY20" fmla="*/ 1237446 h 1361640"/>
                    <a:gd name="connsiteX21" fmla="*/ 166688 w 895636"/>
                    <a:gd name="connsiteY21" fmla="*/ 1046946 h 1361640"/>
                    <a:gd name="connsiteX22" fmla="*/ 223838 w 895636"/>
                    <a:gd name="connsiteY22" fmla="*/ 613558 h 1361640"/>
                    <a:gd name="connsiteX23" fmla="*/ 333375 w 895636"/>
                    <a:gd name="connsiteY23" fmla="*/ 261133 h 1361640"/>
                    <a:gd name="connsiteX24" fmla="*/ 547688 w 895636"/>
                    <a:gd name="connsiteY24" fmla="*/ 27771 h 1361640"/>
                    <a:gd name="connsiteX25" fmla="*/ 895350 w 895636"/>
                    <a:gd name="connsiteY25" fmla="*/ 13483 h 1361640"/>
                    <a:gd name="connsiteX0" fmla="*/ 895350 w 895651"/>
                    <a:gd name="connsiteY0" fmla="*/ 21351 h 1369508"/>
                    <a:gd name="connsiteX1" fmla="*/ 485775 w 895651"/>
                    <a:gd name="connsiteY1" fmla="*/ 135651 h 1369508"/>
                    <a:gd name="connsiteX2" fmla="*/ 316707 w 895651"/>
                    <a:gd name="connsiteY2" fmla="*/ 397589 h 1369508"/>
                    <a:gd name="connsiteX3" fmla="*/ 290514 w 895651"/>
                    <a:gd name="connsiteY3" fmla="*/ 652382 h 1369508"/>
                    <a:gd name="connsiteX4" fmla="*/ 642938 w 895651"/>
                    <a:gd name="connsiteY4" fmla="*/ 1002426 h 1369508"/>
                    <a:gd name="connsiteX5" fmla="*/ 766763 w 895651"/>
                    <a:gd name="connsiteY5" fmla="*/ 1369139 h 1369508"/>
                    <a:gd name="connsiteX6" fmla="*/ 676275 w 895651"/>
                    <a:gd name="connsiteY6" fmla="*/ 1073864 h 1369508"/>
                    <a:gd name="connsiteX7" fmla="*/ 585788 w 895651"/>
                    <a:gd name="connsiteY7" fmla="*/ 1202451 h 1369508"/>
                    <a:gd name="connsiteX8" fmla="*/ 576263 w 895651"/>
                    <a:gd name="connsiteY8" fmla="*/ 1354851 h 1369508"/>
                    <a:gd name="connsiteX9" fmla="*/ 604838 w 895651"/>
                    <a:gd name="connsiteY9" fmla="*/ 1164351 h 1369508"/>
                    <a:gd name="connsiteX10" fmla="*/ 600075 w 895651"/>
                    <a:gd name="connsiteY10" fmla="*/ 997664 h 1369508"/>
                    <a:gd name="connsiteX11" fmla="*/ 457201 w 895651"/>
                    <a:gd name="connsiteY11" fmla="*/ 861932 h 1369508"/>
                    <a:gd name="connsiteX12" fmla="*/ 252413 w 895651"/>
                    <a:gd name="connsiteY12" fmla="*/ 688101 h 1369508"/>
                    <a:gd name="connsiteX13" fmla="*/ 171450 w 895651"/>
                    <a:gd name="connsiteY13" fmla="*/ 1031001 h 1369508"/>
                    <a:gd name="connsiteX14" fmla="*/ 219075 w 895651"/>
                    <a:gd name="connsiteY14" fmla="*/ 1278651 h 1369508"/>
                    <a:gd name="connsiteX15" fmla="*/ 200025 w 895651"/>
                    <a:gd name="connsiteY15" fmla="*/ 1354851 h 1369508"/>
                    <a:gd name="connsiteX16" fmla="*/ 228600 w 895651"/>
                    <a:gd name="connsiteY16" fmla="*/ 1278651 h 1369508"/>
                    <a:gd name="connsiteX17" fmla="*/ 171450 w 895651"/>
                    <a:gd name="connsiteY17" fmla="*/ 1131014 h 1369508"/>
                    <a:gd name="connsiteX18" fmla="*/ 42863 w 895651"/>
                    <a:gd name="connsiteY18" fmla="*/ 1254839 h 1369508"/>
                    <a:gd name="connsiteX19" fmla="*/ 0 w 895651"/>
                    <a:gd name="connsiteY19" fmla="*/ 1359614 h 1369508"/>
                    <a:gd name="connsiteX20" fmla="*/ 42863 w 895651"/>
                    <a:gd name="connsiteY20" fmla="*/ 1245314 h 1369508"/>
                    <a:gd name="connsiteX21" fmla="*/ 166688 w 895651"/>
                    <a:gd name="connsiteY21" fmla="*/ 1054814 h 1369508"/>
                    <a:gd name="connsiteX22" fmla="*/ 223838 w 895651"/>
                    <a:gd name="connsiteY22" fmla="*/ 621426 h 1369508"/>
                    <a:gd name="connsiteX23" fmla="*/ 290513 w 895651"/>
                    <a:gd name="connsiteY23" fmla="*/ 373776 h 1369508"/>
                    <a:gd name="connsiteX24" fmla="*/ 547688 w 895651"/>
                    <a:gd name="connsiteY24" fmla="*/ 35639 h 1369508"/>
                    <a:gd name="connsiteX25" fmla="*/ 895350 w 895651"/>
                    <a:gd name="connsiteY25" fmla="*/ 21351 h 1369508"/>
                    <a:gd name="connsiteX0" fmla="*/ 895350 w 895651"/>
                    <a:gd name="connsiteY0" fmla="*/ 21351 h 1369508"/>
                    <a:gd name="connsiteX1" fmla="*/ 485775 w 895651"/>
                    <a:gd name="connsiteY1" fmla="*/ 135651 h 1369508"/>
                    <a:gd name="connsiteX2" fmla="*/ 316707 w 895651"/>
                    <a:gd name="connsiteY2" fmla="*/ 397589 h 1369508"/>
                    <a:gd name="connsiteX3" fmla="*/ 290514 w 895651"/>
                    <a:gd name="connsiteY3" fmla="*/ 652382 h 1369508"/>
                    <a:gd name="connsiteX4" fmla="*/ 642938 w 895651"/>
                    <a:gd name="connsiteY4" fmla="*/ 1002426 h 1369508"/>
                    <a:gd name="connsiteX5" fmla="*/ 766763 w 895651"/>
                    <a:gd name="connsiteY5" fmla="*/ 1369139 h 1369508"/>
                    <a:gd name="connsiteX6" fmla="*/ 676275 w 895651"/>
                    <a:gd name="connsiteY6" fmla="*/ 1073864 h 1369508"/>
                    <a:gd name="connsiteX7" fmla="*/ 585788 w 895651"/>
                    <a:gd name="connsiteY7" fmla="*/ 1202451 h 1369508"/>
                    <a:gd name="connsiteX8" fmla="*/ 576263 w 895651"/>
                    <a:gd name="connsiteY8" fmla="*/ 1354851 h 1369508"/>
                    <a:gd name="connsiteX9" fmla="*/ 604838 w 895651"/>
                    <a:gd name="connsiteY9" fmla="*/ 1164351 h 1369508"/>
                    <a:gd name="connsiteX10" fmla="*/ 600075 w 895651"/>
                    <a:gd name="connsiteY10" fmla="*/ 997664 h 1369508"/>
                    <a:gd name="connsiteX11" fmla="*/ 457201 w 895651"/>
                    <a:gd name="connsiteY11" fmla="*/ 861932 h 1369508"/>
                    <a:gd name="connsiteX12" fmla="*/ 252413 w 895651"/>
                    <a:gd name="connsiteY12" fmla="*/ 688101 h 1369508"/>
                    <a:gd name="connsiteX13" fmla="*/ 171450 w 895651"/>
                    <a:gd name="connsiteY13" fmla="*/ 1031001 h 1369508"/>
                    <a:gd name="connsiteX14" fmla="*/ 219075 w 895651"/>
                    <a:gd name="connsiteY14" fmla="*/ 1278651 h 1369508"/>
                    <a:gd name="connsiteX15" fmla="*/ 200025 w 895651"/>
                    <a:gd name="connsiteY15" fmla="*/ 1354851 h 1369508"/>
                    <a:gd name="connsiteX16" fmla="*/ 228600 w 895651"/>
                    <a:gd name="connsiteY16" fmla="*/ 1278651 h 1369508"/>
                    <a:gd name="connsiteX17" fmla="*/ 171450 w 895651"/>
                    <a:gd name="connsiteY17" fmla="*/ 1131014 h 1369508"/>
                    <a:gd name="connsiteX18" fmla="*/ 42863 w 895651"/>
                    <a:gd name="connsiteY18" fmla="*/ 1254839 h 1369508"/>
                    <a:gd name="connsiteX19" fmla="*/ 0 w 895651"/>
                    <a:gd name="connsiteY19" fmla="*/ 1359614 h 1369508"/>
                    <a:gd name="connsiteX20" fmla="*/ 42863 w 895651"/>
                    <a:gd name="connsiteY20" fmla="*/ 1245314 h 1369508"/>
                    <a:gd name="connsiteX21" fmla="*/ 166688 w 895651"/>
                    <a:gd name="connsiteY21" fmla="*/ 1054814 h 1369508"/>
                    <a:gd name="connsiteX22" fmla="*/ 223838 w 895651"/>
                    <a:gd name="connsiteY22" fmla="*/ 621426 h 1369508"/>
                    <a:gd name="connsiteX23" fmla="*/ 290513 w 895651"/>
                    <a:gd name="connsiteY23" fmla="*/ 373776 h 1369508"/>
                    <a:gd name="connsiteX24" fmla="*/ 547688 w 895651"/>
                    <a:gd name="connsiteY24" fmla="*/ 35639 h 1369508"/>
                    <a:gd name="connsiteX25" fmla="*/ 895350 w 895651"/>
                    <a:gd name="connsiteY25" fmla="*/ 21351 h 1369508"/>
                    <a:gd name="connsiteX0" fmla="*/ 895350 w 895651"/>
                    <a:gd name="connsiteY0" fmla="*/ 21351 h 1369508"/>
                    <a:gd name="connsiteX1" fmla="*/ 485775 w 895651"/>
                    <a:gd name="connsiteY1" fmla="*/ 135651 h 1369508"/>
                    <a:gd name="connsiteX2" fmla="*/ 316707 w 895651"/>
                    <a:gd name="connsiteY2" fmla="*/ 397589 h 1369508"/>
                    <a:gd name="connsiteX3" fmla="*/ 290514 w 895651"/>
                    <a:gd name="connsiteY3" fmla="*/ 652382 h 1369508"/>
                    <a:gd name="connsiteX4" fmla="*/ 642938 w 895651"/>
                    <a:gd name="connsiteY4" fmla="*/ 1002426 h 1369508"/>
                    <a:gd name="connsiteX5" fmla="*/ 766763 w 895651"/>
                    <a:gd name="connsiteY5" fmla="*/ 1369139 h 1369508"/>
                    <a:gd name="connsiteX6" fmla="*/ 676275 w 895651"/>
                    <a:gd name="connsiteY6" fmla="*/ 1073864 h 1369508"/>
                    <a:gd name="connsiteX7" fmla="*/ 585788 w 895651"/>
                    <a:gd name="connsiteY7" fmla="*/ 1202451 h 1369508"/>
                    <a:gd name="connsiteX8" fmla="*/ 576263 w 895651"/>
                    <a:gd name="connsiteY8" fmla="*/ 1354851 h 1369508"/>
                    <a:gd name="connsiteX9" fmla="*/ 604838 w 895651"/>
                    <a:gd name="connsiteY9" fmla="*/ 1164351 h 1369508"/>
                    <a:gd name="connsiteX10" fmla="*/ 600075 w 895651"/>
                    <a:gd name="connsiteY10" fmla="*/ 997664 h 1369508"/>
                    <a:gd name="connsiteX11" fmla="*/ 457201 w 895651"/>
                    <a:gd name="connsiteY11" fmla="*/ 861932 h 1369508"/>
                    <a:gd name="connsiteX12" fmla="*/ 252413 w 895651"/>
                    <a:gd name="connsiteY12" fmla="*/ 688101 h 1369508"/>
                    <a:gd name="connsiteX13" fmla="*/ 171450 w 895651"/>
                    <a:gd name="connsiteY13" fmla="*/ 1031001 h 1369508"/>
                    <a:gd name="connsiteX14" fmla="*/ 219075 w 895651"/>
                    <a:gd name="connsiteY14" fmla="*/ 1278651 h 1369508"/>
                    <a:gd name="connsiteX15" fmla="*/ 200025 w 895651"/>
                    <a:gd name="connsiteY15" fmla="*/ 1354851 h 1369508"/>
                    <a:gd name="connsiteX16" fmla="*/ 228600 w 895651"/>
                    <a:gd name="connsiteY16" fmla="*/ 1278651 h 1369508"/>
                    <a:gd name="connsiteX17" fmla="*/ 171450 w 895651"/>
                    <a:gd name="connsiteY17" fmla="*/ 1131014 h 1369508"/>
                    <a:gd name="connsiteX18" fmla="*/ 42863 w 895651"/>
                    <a:gd name="connsiteY18" fmla="*/ 1254839 h 1369508"/>
                    <a:gd name="connsiteX19" fmla="*/ 0 w 895651"/>
                    <a:gd name="connsiteY19" fmla="*/ 1359614 h 1369508"/>
                    <a:gd name="connsiteX20" fmla="*/ 42863 w 895651"/>
                    <a:gd name="connsiteY20" fmla="*/ 1245314 h 1369508"/>
                    <a:gd name="connsiteX21" fmla="*/ 166688 w 895651"/>
                    <a:gd name="connsiteY21" fmla="*/ 1054814 h 1369508"/>
                    <a:gd name="connsiteX22" fmla="*/ 223838 w 895651"/>
                    <a:gd name="connsiteY22" fmla="*/ 621426 h 1369508"/>
                    <a:gd name="connsiteX23" fmla="*/ 290513 w 895651"/>
                    <a:gd name="connsiteY23" fmla="*/ 373776 h 1369508"/>
                    <a:gd name="connsiteX24" fmla="*/ 547688 w 895651"/>
                    <a:gd name="connsiteY24" fmla="*/ 35639 h 1369508"/>
                    <a:gd name="connsiteX25" fmla="*/ 895350 w 895651"/>
                    <a:gd name="connsiteY25" fmla="*/ 21351 h 1369508"/>
                    <a:gd name="connsiteX0" fmla="*/ 895350 w 895651"/>
                    <a:gd name="connsiteY0" fmla="*/ 21351 h 1369508"/>
                    <a:gd name="connsiteX1" fmla="*/ 485775 w 895651"/>
                    <a:gd name="connsiteY1" fmla="*/ 135651 h 1369508"/>
                    <a:gd name="connsiteX2" fmla="*/ 316707 w 895651"/>
                    <a:gd name="connsiteY2" fmla="*/ 397589 h 1369508"/>
                    <a:gd name="connsiteX3" fmla="*/ 290514 w 895651"/>
                    <a:gd name="connsiteY3" fmla="*/ 652382 h 1369508"/>
                    <a:gd name="connsiteX4" fmla="*/ 642938 w 895651"/>
                    <a:gd name="connsiteY4" fmla="*/ 1002426 h 1369508"/>
                    <a:gd name="connsiteX5" fmla="*/ 766763 w 895651"/>
                    <a:gd name="connsiteY5" fmla="*/ 1369139 h 1369508"/>
                    <a:gd name="connsiteX6" fmla="*/ 676275 w 895651"/>
                    <a:gd name="connsiteY6" fmla="*/ 1073864 h 1369508"/>
                    <a:gd name="connsiteX7" fmla="*/ 585788 w 895651"/>
                    <a:gd name="connsiteY7" fmla="*/ 1202451 h 1369508"/>
                    <a:gd name="connsiteX8" fmla="*/ 576263 w 895651"/>
                    <a:gd name="connsiteY8" fmla="*/ 1354851 h 1369508"/>
                    <a:gd name="connsiteX9" fmla="*/ 604838 w 895651"/>
                    <a:gd name="connsiteY9" fmla="*/ 1164351 h 1369508"/>
                    <a:gd name="connsiteX10" fmla="*/ 600075 w 895651"/>
                    <a:gd name="connsiteY10" fmla="*/ 997664 h 1369508"/>
                    <a:gd name="connsiteX11" fmla="*/ 457201 w 895651"/>
                    <a:gd name="connsiteY11" fmla="*/ 861932 h 1369508"/>
                    <a:gd name="connsiteX12" fmla="*/ 252413 w 895651"/>
                    <a:gd name="connsiteY12" fmla="*/ 688101 h 1369508"/>
                    <a:gd name="connsiteX13" fmla="*/ 171450 w 895651"/>
                    <a:gd name="connsiteY13" fmla="*/ 1031001 h 1369508"/>
                    <a:gd name="connsiteX14" fmla="*/ 219075 w 895651"/>
                    <a:gd name="connsiteY14" fmla="*/ 1278651 h 1369508"/>
                    <a:gd name="connsiteX15" fmla="*/ 200025 w 895651"/>
                    <a:gd name="connsiteY15" fmla="*/ 1354851 h 1369508"/>
                    <a:gd name="connsiteX16" fmla="*/ 228600 w 895651"/>
                    <a:gd name="connsiteY16" fmla="*/ 1278651 h 1369508"/>
                    <a:gd name="connsiteX17" fmla="*/ 171450 w 895651"/>
                    <a:gd name="connsiteY17" fmla="*/ 1131014 h 1369508"/>
                    <a:gd name="connsiteX18" fmla="*/ 42863 w 895651"/>
                    <a:gd name="connsiteY18" fmla="*/ 1254839 h 1369508"/>
                    <a:gd name="connsiteX19" fmla="*/ 0 w 895651"/>
                    <a:gd name="connsiteY19" fmla="*/ 1359614 h 1369508"/>
                    <a:gd name="connsiteX20" fmla="*/ 42863 w 895651"/>
                    <a:gd name="connsiteY20" fmla="*/ 1245314 h 1369508"/>
                    <a:gd name="connsiteX21" fmla="*/ 166688 w 895651"/>
                    <a:gd name="connsiteY21" fmla="*/ 1054814 h 1369508"/>
                    <a:gd name="connsiteX22" fmla="*/ 223838 w 895651"/>
                    <a:gd name="connsiteY22" fmla="*/ 621426 h 1369508"/>
                    <a:gd name="connsiteX23" fmla="*/ 290513 w 895651"/>
                    <a:gd name="connsiteY23" fmla="*/ 373776 h 1369508"/>
                    <a:gd name="connsiteX24" fmla="*/ 547688 w 895651"/>
                    <a:gd name="connsiteY24" fmla="*/ 35639 h 1369508"/>
                    <a:gd name="connsiteX25" fmla="*/ 895350 w 895651"/>
                    <a:gd name="connsiteY25" fmla="*/ 21351 h 1369508"/>
                    <a:gd name="connsiteX0" fmla="*/ 895350 w 895350"/>
                    <a:gd name="connsiteY0" fmla="*/ 1392 h 1349549"/>
                    <a:gd name="connsiteX1" fmla="*/ 485775 w 895350"/>
                    <a:gd name="connsiteY1" fmla="*/ 115692 h 1349549"/>
                    <a:gd name="connsiteX2" fmla="*/ 316707 w 895350"/>
                    <a:gd name="connsiteY2" fmla="*/ 377630 h 1349549"/>
                    <a:gd name="connsiteX3" fmla="*/ 290514 w 895350"/>
                    <a:gd name="connsiteY3" fmla="*/ 632423 h 1349549"/>
                    <a:gd name="connsiteX4" fmla="*/ 642938 w 895350"/>
                    <a:gd name="connsiteY4" fmla="*/ 982467 h 1349549"/>
                    <a:gd name="connsiteX5" fmla="*/ 766763 w 895350"/>
                    <a:gd name="connsiteY5" fmla="*/ 1349180 h 1349549"/>
                    <a:gd name="connsiteX6" fmla="*/ 676275 w 895350"/>
                    <a:gd name="connsiteY6" fmla="*/ 1053905 h 1349549"/>
                    <a:gd name="connsiteX7" fmla="*/ 585788 w 895350"/>
                    <a:gd name="connsiteY7" fmla="*/ 1182492 h 1349549"/>
                    <a:gd name="connsiteX8" fmla="*/ 576263 w 895350"/>
                    <a:gd name="connsiteY8" fmla="*/ 1334892 h 1349549"/>
                    <a:gd name="connsiteX9" fmla="*/ 604838 w 895350"/>
                    <a:gd name="connsiteY9" fmla="*/ 1144392 h 1349549"/>
                    <a:gd name="connsiteX10" fmla="*/ 600075 w 895350"/>
                    <a:gd name="connsiteY10" fmla="*/ 977705 h 1349549"/>
                    <a:gd name="connsiteX11" fmla="*/ 457201 w 895350"/>
                    <a:gd name="connsiteY11" fmla="*/ 841973 h 1349549"/>
                    <a:gd name="connsiteX12" fmla="*/ 252413 w 895350"/>
                    <a:gd name="connsiteY12" fmla="*/ 668142 h 1349549"/>
                    <a:gd name="connsiteX13" fmla="*/ 171450 w 895350"/>
                    <a:gd name="connsiteY13" fmla="*/ 1011042 h 1349549"/>
                    <a:gd name="connsiteX14" fmla="*/ 219075 w 895350"/>
                    <a:gd name="connsiteY14" fmla="*/ 1258692 h 1349549"/>
                    <a:gd name="connsiteX15" fmla="*/ 200025 w 895350"/>
                    <a:gd name="connsiteY15" fmla="*/ 1334892 h 1349549"/>
                    <a:gd name="connsiteX16" fmla="*/ 228600 w 895350"/>
                    <a:gd name="connsiteY16" fmla="*/ 1258692 h 1349549"/>
                    <a:gd name="connsiteX17" fmla="*/ 171450 w 895350"/>
                    <a:gd name="connsiteY17" fmla="*/ 1111055 h 1349549"/>
                    <a:gd name="connsiteX18" fmla="*/ 42863 w 895350"/>
                    <a:gd name="connsiteY18" fmla="*/ 1234880 h 1349549"/>
                    <a:gd name="connsiteX19" fmla="*/ 0 w 895350"/>
                    <a:gd name="connsiteY19" fmla="*/ 1339655 h 1349549"/>
                    <a:gd name="connsiteX20" fmla="*/ 42863 w 895350"/>
                    <a:gd name="connsiteY20" fmla="*/ 1225355 h 1349549"/>
                    <a:gd name="connsiteX21" fmla="*/ 166688 w 895350"/>
                    <a:gd name="connsiteY21" fmla="*/ 1034855 h 1349549"/>
                    <a:gd name="connsiteX22" fmla="*/ 223838 w 895350"/>
                    <a:gd name="connsiteY22" fmla="*/ 601467 h 1349549"/>
                    <a:gd name="connsiteX23" fmla="*/ 290513 w 895350"/>
                    <a:gd name="connsiteY23" fmla="*/ 353817 h 1349549"/>
                    <a:gd name="connsiteX24" fmla="*/ 483395 w 895350"/>
                    <a:gd name="connsiteY24" fmla="*/ 72830 h 1349549"/>
                    <a:gd name="connsiteX25" fmla="*/ 895350 w 895350"/>
                    <a:gd name="connsiteY25" fmla="*/ 1392 h 1349549"/>
                    <a:gd name="connsiteX0" fmla="*/ 895350 w 895350"/>
                    <a:gd name="connsiteY0" fmla="*/ 1392 h 1349549"/>
                    <a:gd name="connsiteX1" fmla="*/ 485775 w 895350"/>
                    <a:gd name="connsiteY1" fmla="*/ 115692 h 1349549"/>
                    <a:gd name="connsiteX2" fmla="*/ 316707 w 895350"/>
                    <a:gd name="connsiteY2" fmla="*/ 377630 h 1349549"/>
                    <a:gd name="connsiteX3" fmla="*/ 290514 w 895350"/>
                    <a:gd name="connsiteY3" fmla="*/ 632423 h 1349549"/>
                    <a:gd name="connsiteX4" fmla="*/ 642938 w 895350"/>
                    <a:gd name="connsiteY4" fmla="*/ 982467 h 1349549"/>
                    <a:gd name="connsiteX5" fmla="*/ 766763 w 895350"/>
                    <a:gd name="connsiteY5" fmla="*/ 1349180 h 1349549"/>
                    <a:gd name="connsiteX6" fmla="*/ 676275 w 895350"/>
                    <a:gd name="connsiteY6" fmla="*/ 1053905 h 1349549"/>
                    <a:gd name="connsiteX7" fmla="*/ 585788 w 895350"/>
                    <a:gd name="connsiteY7" fmla="*/ 1182492 h 1349549"/>
                    <a:gd name="connsiteX8" fmla="*/ 576263 w 895350"/>
                    <a:gd name="connsiteY8" fmla="*/ 1334892 h 1349549"/>
                    <a:gd name="connsiteX9" fmla="*/ 604838 w 895350"/>
                    <a:gd name="connsiteY9" fmla="*/ 1144392 h 1349549"/>
                    <a:gd name="connsiteX10" fmla="*/ 600075 w 895350"/>
                    <a:gd name="connsiteY10" fmla="*/ 977705 h 1349549"/>
                    <a:gd name="connsiteX11" fmla="*/ 457201 w 895350"/>
                    <a:gd name="connsiteY11" fmla="*/ 841973 h 1349549"/>
                    <a:gd name="connsiteX12" fmla="*/ 252413 w 895350"/>
                    <a:gd name="connsiteY12" fmla="*/ 668142 h 1349549"/>
                    <a:gd name="connsiteX13" fmla="*/ 171450 w 895350"/>
                    <a:gd name="connsiteY13" fmla="*/ 1011042 h 1349549"/>
                    <a:gd name="connsiteX14" fmla="*/ 219075 w 895350"/>
                    <a:gd name="connsiteY14" fmla="*/ 1258692 h 1349549"/>
                    <a:gd name="connsiteX15" fmla="*/ 200025 w 895350"/>
                    <a:gd name="connsiteY15" fmla="*/ 1334892 h 1349549"/>
                    <a:gd name="connsiteX16" fmla="*/ 228600 w 895350"/>
                    <a:gd name="connsiteY16" fmla="*/ 1258692 h 1349549"/>
                    <a:gd name="connsiteX17" fmla="*/ 171450 w 895350"/>
                    <a:gd name="connsiteY17" fmla="*/ 1111055 h 1349549"/>
                    <a:gd name="connsiteX18" fmla="*/ 42863 w 895350"/>
                    <a:gd name="connsiteY18" fmla="*/ 1234880 h 1349549"/>
                    <a:gd name="connsiteX19" fmla="*/ 0 w 895350"/>
                    <a:gd name="connsiteY19" fmla="*/ 1339655 h 1349549"/>
                    <a:gd name="connsiteX20" fmla="*/ 42863 w 895350"/>
                    <a:gd name="connsiteY20" fmla="*/ 1225355 h 1349549"/>
                    <a:gd name="connsiteX21" fmla="*/ 166688 w 895350"/>
                    <a:gd name="connsiteY21" fmla="*/ 1034855 h 1349549"/>
                    <a:gd name="connsiteX22" fmla="*/ 223838 w 895350"/>
                    <a:gd name="connsiteY22" fmla="*/ 601467 h 1349549"/>
                    <a:gd name="connsiteX23" fmla="*/ 290513 w 895350"/>
                    <a:gd name="connsiteY23" fmla="*/ 353817 h 1349549"/>
                    <a:gd name="connsiteX24" fmla="*/ 483395 w 895350"/>
                    <a:gd name="connsiteY24" fmla="*/ 72830 h 1349549"/>
                    <a:gd name="connsiteX25" fmla="*/ 895350 w 895350"/>
                    <a:gd name="connsiteY25" fmla="*/ 1392 h 1349549"/>
                    <a:gd name="connsiteX0" fmla="*/ 895350 w 895350"/>
                    <a:gd name="connsiteY0" fmla="*/ 1392 h 1349549"/>
                    <a:gd name="connsiteX1" fmla="*/ 485775 w 895350"/>
                    <a:gd name="connsiteY1" fmla="*/ 115692 h 1349549"/>
                    <a:gd name="connsiteX2" fmla="*/ 316707 w 895350"/>
                    <a:gd name="connsiteY2" fmla="*/ 377630 h 1349549"/>
                    <a:gd name="connsiteX3" fmla="*/ 290514 w 895350"/>
                    <a:gd name="connsiteY3" fmla="*/ 632423 h 1349549"/>
                    <a:gd name="connsiteX4" fmla="*/ 473869 w 895350"/>
                    <a:gd name="connsiteY4" fmla="*/ 815780 h 1349549"/>
                    <a:gd name="connsiteX5" fmla="*/ 642938 w 895350"/>
                    <a:gd name="connsiteY5" fmla="*/ 982467 h 1349549"/>
                    <a:gd name="connsiteX6" fmla="*/ 766763 w 895350"/>
                    <a:gd name="connsiteY6" fmla="*/ 1349180 h 1349549"/>
                    <a:gd name="connsiteX7" fmla="*/ 676275 w 895350"/>
                    <a:gd name="connsiteY7" fmla="*/ 1053905 h 1349549"/>
                    <a:gd name="connsiteX8" fmla="*/ 585788 w 895350"/>
                    <a:gd name="connsiteY8" fmla="*/ 1182492 h 1349549"/>
                    <a:gd name="connsiteX9" fmla="*/ 576263 w 895350"/>
                    <a:gd name="connsiteY9" fmla="*/ 1334892 h 1349549"/>
                    <a:gd name="connsiteX10" fmla="*/ 604838 w 895350"/>
                    <a:gd name="connsiteY10" fmla="*/ 1144392 h 1349549"/>
                    <a:gd name="connsiteX11" fmla="*/ 600075 w 895350"/>
                    <a:gd name="connsiteY11" fmla="*/ 977705 h 1349549"/>
                    <a:gd name="connsiteX12" fmla="*/ 457201 w 895350"/>
                    <a:gd name="connsiteY12" fmla="*/ 841973 h 1349549"/>
                    <a:gd name="connsiteX13" fmla="*/ 252413 w 895350"/>
                    <a:gd name="connsiteY13" fmla="*/ 668142 h 1349549"/>
                    <a:gd name="connsiteX14" fmla="*/ 171450 w 895350"/>
                    <a:gd name="connsiteY14" fmla="*/ 1011042 h 1349549"/>
                    <a:gd name="connsiteX15" fmla="*/ 219075 w 895350"/>
                    <a:gd name="connsiteY15" fmla="*/ 1258692 h 1349549"/>
                    <a:gd name="connsiteX16" fmla="*/ 200025 w 895350"/>
                    <a:gd name="connsiteY16" fmla="*/ 1334892 h 1349549"/>
                    <a:gd name="connsiteX17" fmla="*/ 228600 w 895350"/>
                    <a:gd name="connsiteY17" fmla="*/ 1258692 h 1349549"/>
                    <a:gd name="connsiteX18" fmla="*/ 171450 w 895350"/>
                    <a:gd name="connsiteY18" fmla="*/ 1111055 h 1349549"/>
                    <a:gd name="connsiteX19" fmla="*/ 42863 w 895350"/>
                    <a:gd name="connsiteY19" fmla="*/ 1234880 h 1349549"/>
                    <a:gd name="connsiteX20" fmla="*/ 0 w 895350"/>
                    <a:gd name="connsiteY20" fmla="*/ 1339655 h 1349549"/>
                    <a:gd name="connsiteX21" fmla="*/ 42863 w 895350"/>
                    <a:gd name="connsiteY21" fmla="*/ 1225355 h 1349549"/>
                    <a:gd name="connsiteX22" fmla="*/ 166688 w 895350"/>
                    <a:gd name="connsiteY22" fmla="*/ 1034855 h 1349549"/>
                    <a:gd name="connsiteX23" fmla="*/ 223838 w 895350"/>
                    <a:gd name="connsiteY23" fmla="*/ 601467 h 1349549"/>
                    <a:gd name="connsiteX24" fmla="*/ 290513 w 895350"/>
                    <a:gd name="connsiteY24" fmla="*/ 353817 h 1349549"/>
                    <a:gd name="connsiteX25" fmla="*/ 483395 w 895350"/>
                    <a:gd name="connsiteY25" fmla="*/ 72830 h 1349549"/>
                    <a:gd name="connsiteX26" fmla="*/ 895350 w 895350"/>
                    <a:gd name="connsiteY26" fmla="*/ 1392 h 1349549"/>
                    <a:gd name="connsiteX0" fmla="*/ 895350 w 895350"/>
                    <a:gd name="connsiteY0" fmla="*/ 1392 h 1349549"/>
                    <a:gd name="connsiteX1" fmla="*/ 485775 w 895350"/>
                    <a:gd name="connsiteY1" fmla="*/ 115692 h 1349549"/>
                    <a:gd name="connsiteX2" fmla="*/ 316707 w 895350"/>
                    <a:gd name="connsiteY2" fmla="*/ 377630 h 1349549"/>
                    <a:gd name="connsiteX3" fmla="*/ 290514 w 895350"/>
                    <a:gd name="connsiteY3" fmla="*/ 632423 h 1349549"/>
                    <a:gd name="connsiteX4" fmla="*/ 473869 w 895350"/>
                    <a:gd name="connsiteY4" fmla="*/ 815780 h 1349549"/>
                    <a:gd name="connsiteX5" fmla="*/ 642938 w 895350"/>
                    <a:gd name="connsiteY5" fmla="*/ 982467 h 1349549"/>
                    <a:gd name="connsiteX6" fmla="*/ 766763 w 895350"/>
                    <a:gd name="connsiteY6" fmla="*/ 1349180 h 1349549"/>
                    <a:gd name="connsiteX7" fmla="*/ 676275 w 895350"/>
                    <a:gd name="connsiteY7" fmla="*/ 1053905 h 1349549"/>
                    <a:gd name="connsiteX8" fmla="*/ 585788 w 895350"/>
                    <a:gd name="connsiteY8" fmla="*/ 1182492 h 1349549"/>
                    <a:gd name="connsiteX9" fmla="*/ 576263 w 895350"/>
                    <a:gd name="connsiteY9" fmla="*/ 1334892 h 1349549"/>
                    <a:gd name="connsiteX10" fmla="*/ 604838 w 895350"/>
                    <a:gd name="connsiteY10" fmla="*/ 1144392 h 1349549"/>
                    <a:gd name="connsiteX11" fmla="*/ 600075 w 895350"/>
                    <a:gd name="connsiteY11" fmla="*/ 977705 h 1349549"/>
                    <a:gd name="connsiteX12" fmla="*/ 464345 w 895350"/>
                    <a:gd name="connsiteY12" fmla="*/ 837210 h 1349549"/>
                    <a:gd name="connsiteX13" fmla="*/ 252413 w 895350"/>
                    <a:gd name="connsiteY13" fmla="*/ 668142 h 1349549"/>
                    <a:gd name="connsiteX14" fmla="*/ 171450 w 895350"/>
                    <a:gd name="connsiteY14" fmla="*/ 1011042 h 1349549"/>
                    <a:gd name="connsiteX15" fmla="*/ 219075 w 895350"/>
                    <a:gd name="connsiteY15" fmla="*/ 1258692 h 1349549"/>
                    <a:gd name="connsiteX16" fmla="*/ 200025 w 895350"/>
                    <a:gd name="connsiteY16" fmla="*/ 1334892 h 1349549"/>
                    <a:gd name="connsiteX17" fmla="*/ 228600 w 895350"/>
                    <a:gd name="connsiteY17" fmla="*/ 1258692 h 1349549"/>
                    <a:gd name="connsiteX18" fmla="*/ 171450 w 895350"/>
                    <a:gd name="connsiteY18" fmla="*/ 1111055 h 1349549"/>
                    <a:gd name="connsiteX19" fmla="*/ 42863 w 895350"/>
                    <a:gd name="connsiteY19" fmla="*/ 1234880 h 1349549"/>
                    <a:gd name="connsiteX20" fmla="*/ 0 w 895350"/>
                    <a:gd name="connsiteY20" fmla="*/ 1339655 h 1349549"/>
                    <a:gd name="connsiteX21" fmla="*/ 42863 w 895350"/>
                    <a:gd name="connsiteY21" fmla="*/ 1225355 h 1349549"/>
                    <a:gd name="connsiteX22" fmla="*/ 166688 w 895350"/>
                    <a:gd name="connsiteY22" fmla="*/ 1034855 h 1349549"/>
                    <a:gd name="connsiteX23" fmla="*/ 223838 w 895350"/>
                    <a:gd name="connsiteY23" fmla="*/ 601467 h 1349549"/>
                    <a:gd name="connsiteX24" fmla="*/ 290513 w 895350"/>
                    <a:gd name="connsiteY24" fmla="*/ 353817 h 1349549"/>
                    <a:gd name="connsiteX25" fmla="*/ 483395 w 895350"/>
                    <a:gd name="connsiteY25" fmla="*/ 72830 h 1349549"/>
                    <a:gd name="connsiteX26" fmla="*/ 895350 w 895350"/>
                    <a:gd name="connsiteY26" fmla="*/ 1392 h 1349549"/>
                    <a:gd name="connsiteX0" fmla="*/ 895350 w 895350"/>
                    <a:gd name="connsiteY0" fmla="*/ 1392 h 1349549"/>
                    <a:gd name="connsiteX1" fmla="*/ 485775 w 895350"/>
                    <a:gd name="connsiteY1" fmla="*/ 115692 h 1349549"/>
                    <a:gd name="connsiteX2" fmla="*/ 316707 w 895350"/>
                    <a:gd name="connsiteY2" fmla="*/ 377630 h 1349549"/>
                    <a:gd name="connsiteX3" fmla="*/ 290514 w 895350"/>
                    <a:gd name="connsiteY3" fmla="*/ 632423 h 1349549"/>
                    <a:gd name="connsiteX4" fmla="*/ 473869 w 895350"/>
                    <a:gd name="connsiteY4" fmla="*/ 815780 h 1349549"/>
                    <a:gd name="connsiteX5" fmla="*/ 642938 w 895350"/>
                    <a:gd name="connsiteY5" fmla="*/ 982467 h 1349549"/>
                    <a:gd name="connsiteX6" fmla="*/ 766763 w 895350"/>
                    <a:gd name="connsiteY6" fmla="*/ 1349180 h 1349549"/>
                    <a:gd name="connsiteX7" fmla="*/ 676275 w 895350"/>
                    <a:gd name="connsiteY7" fmla="*/ 1053905 h 1349549"/>
                    <a:gd name="connsiteX8" fmla="*/ 585788 w 895350"/>
                    <a:gd name="connsiteY8" fmla="*/ 1182492 h 1349549"/>
                    <a:gd name="connsiteX9" fmla="*/ 576263 w 895350"/>
                    <a:gd name="connsiteY9" fmla="*/ 1334892 h 1349549"/>
                    <a:gd name="connsiteX10" fmla="*/ 604838 w 895350"/>
                    <a:gd name="connsiteY10" fmla="*/ 1144392 h 1349549"/>
                    <a:gd name="connsiteX11" fmla="*/ 614362 w 895350"/>
                    <a:gd name="connsiteY11" fmla="*/ 984849 h 1349549"/>
                    <a:gd name="connsiteX12" fmla="*/ 464345 w 895350"/>
                    <a:gd name="connsiteY12" fmla="*/ 837210 h 1349549"/>
                    <a:gd name="connsiteX13" fmla="*/ 252413 w 895350"/>
                    <a:gd name="connsiteY13" fmla="*/ 668142 h 1349549"/>
                    <a:gd name="connsiteX14" fmla="*/ 171450 w 895350"/>
                    <a:gd name="connsiteY14" fmla="*/ 1011042 h 1349549"/>
                    <a:gd name="connsiteX15" fmla="*/ 219075 w 895350"/>
                    <a:gd name="connsiteY15" fmla="*/ 1258692 h 1349549"/>
                    <a:gd name="connsiteX16" fmla="*/ 200025 w 895350"/>
                    <a:gd name="connsiteY16" fmla="*/ 1334892 h 1349549"/>
                    <a:gd name="connsiteX17" fmla="*/ 228600 w 895350"/>
                    <a:gd name="connsiteY17" fmla="*/ 1258692 h 1349549"/>
                    <a:gd name="connsiteX18" fmla="*/ 171450 w 895350"/>
                    <a:gd name="connsiteY18" fmla="*/ 1111055 h 1349549"/>
                    <a:gd name="connsiteX19" fmla="*/ 42863 w 895350"/>
                    <a:gd name="connsiteY19" fmla="*/ 1234880 h 1349549"/>
                    <a:gd name="connsiteX20" fmla="*/ 0 w 895350"/>
                    <a:gd name="connsiteY20" fmla="*/ 1339655 h 1349549"/>
                    <a:gd name="connsiteX21" fmla="*/ 42863 w 895350"/>
                    <a:gd name="connsiteY21" fmla="*/ 1225355 h 1349549"/>
                    <a:gd name="connsiteX22" fmla="*/ 166688 w 895350"/>
                    <a:gd name="connsiteY22" fmla="*/ 1034855 h 1349549"/>
                    <a:gd name="connsiteX23" fmla="*/ 223838 w 895350"/>
                    <a:gd name="connsiteY23" fmla="*/ 601467 h 1349549"/>
                    <a:gd name="connsiteX24" fmla="*/ 290513 w 895350"/>
                    <a:gd name="connsiteY24" fmla="*/ 353817 h 1349549"/>
                    <a:gd name="connsiteX25" fmla="*/ 483395 w 895350"/>
                    <a:gd name="connsiteY25" fmla="*/ 72830 h 1349549"/>
                    <a:gd name="connsiteX26" fmla="*/ 895350 w 895350"/>
                    <a:gd name="connsiteY26" fmla="*/ 1392 h 1349549"/>
                    <a:gd name="connsiteX0" fmla="*/ 895350 w 895350"/>
                    <a:gd name="connsiteY0" fmla="*/ 1392 h 1349635"/>
                    <a:gd name="connsiteX1" fmla="*/ 485775 w 895350"/>
                    <a:gd name="connsiteY1" fmla="*/ 115692 h 1349635"/>
                    <a:gd name="connsiteX2" fmla="*/ 316707 w 895350"/>
                    <a:gd name="connsiteY2" fmla="*/ 377630 h 1349635"/>
                    <a:gd name="connsiteX3" fmla="*/ 290514 w 895350"/>
                    <a:gd name="connsiteY3" fmla="*/ 632423 h 1349635"/>
                    <a:gd name="connsiteX4" fmla="*/ 473869 w 895350"/>
                    <a:gd name="connsiteY4" fmla="*/ 815780 h 1349635"/>
                    <a:gd name="connsiteX5" fmla="*/ 642938 w 895350"/>
                    <a:gd name="connsiteY5" fmla="*/ 982467 h 1349635"/>
                    <a:gd name="connsiteX6" fmla="*/ 766763 w 895350"/>
                    <a:gd name="connsiteY6" fmla="*/ 1349180 h 1349635"/>
                    <a:gd name="connsiteX7" fmla="*/ 664368 w 895350"/>
                    <a:gd name="connsiteY7" fmla="*/ 1061049 h 1349635"/>
                    <a:gd name="connsiteX8" fmla="*/ 585788 w 895350"/>
                    <a:gd name="connsiteY8" fmla="*/ 1182492 h 1349635"/>
                    <a:gd name="connsiteX9" fmla="*/ 576263 w 895350"/>
                    <a:gd name="connsiteY9" fmla="*/ 1334892 h 1349635"/>
                    <a:gd name="connsiteX10" fmla="*/ 604838 w 895350"/>
                    <a:gd name="connsiteY10" fmla="*/ 1144392 h 1349635"/>
                    <a:gd name="connsiteX11" fmla="*/ 614362 w 895350"/>
                    <a:gd name="connsiteY11" fmla="*/ 984849 h 1349635"/>
                    <a:gd name="connsiteX12" fmla="*/ 464345 w 895350"/>
                    <a:gd name="connsiteY12" fmla="*/ 837210 h 1349635"/>
                    <a:gd name="connsiteX13" fmla="*/ 252413 w 895350"/>
                    <a:gd name="connsiteY13" fmla="*/ 668142 h 1349635"/>
                    <a:gd name="connsiteX14" fmla="*/ 171450 w 895350"/>
                    <a:gd name="connsiteY14" fmla="*/ 1011042 h 1349635"/>
                    <a:gd name="connsiteX15" fmla="*/ 219075 w 895350"/>
                    <a:gd name="connsiteY15" fmla="*/ 1258692 h 1349635"/>
                    <a:gd name="connsiteX16" fmla="*/ 200025 w 895350"/>
                    <a:gd name="connsiteY16" fmla="*/ 1334892 h 1349635"/>
                    <a:gd name="connsiteX17" fmla="*/ 228600 w 895350"/>
                    <a:gd name="connsiteY17" fmla="*/ 1258692 h 1349635"/>
                    <a:gd name="connsiteX18" fmla="*/ 171450 w 895350"/>
                    <a:gd name="connsiteY18" fmla="*/ 1111055 h 1349635"/>
                    <a:gd name="connsiteX19" fmla="*/ 42863 w 895350"/>
                    <a:gd name="connsiteY19" fmla="*/ 1234880 h 1349635"/>
                    <a:gd name="connsiteX20" fmla="*/ 0 w 895350"/>
                    <a:gd name="connsiteY20" fmla="*/ 1339655 h 1349635"/>
                    <a:gd name="connsiteX21" fmla="*/ 42863 w 895350"/>
                    <a:gd name="connsiteY21" fmla="*/ 1225355 h 1349635"/>
                    <a:gd name="connsiteX22" fmla="*/ 166688 w 895350"/>
                    <a:gd name="connsiteY22" fmla="*/ 1034855 h 1349635"/>
                    <a:gd name="connsiteX23" fmla="*/ 223838 w 895350"/>
                    <a:gd name="connsiteY23" fmla="*/ 601467 h 1349635"/>
                    <a:gd name="connsiteX24" fmla="*/ 290513 w 895350"/>
                    <a:gd name="connsiteY24" fmla="*/ 353817 h 1349635"/>
                    <a:gd name="connsiteX25" fmla="*/ 483395 w 895350"/>
                    <a:gd name="connsiteY25" fmla="*/ 72830 h 1349635"/>
                    <a:gd name="connsiteX26" fmla="*/ 895350 w 895350"/>
                    <a:gd name="connsiteY26" fmla="*/ 1392 h 1349635"/>
                    <a:gd name="connsiteX0" fmla="*/ 895350 w 895350"/>
                    <a:gd name="connsiteY0" fmla="*/ 1392 h 1349918"/>
                    <a:gd name="connsiteX1" fmla="*/ 485775 w 895350"/>
                    <a:gd name="connsiteY1" fmla="*/ 115692 h 1349918"/>
                    <a:gd name="connsiteX2" fmla="*/ 316707 w 895350"/>
                    <a:gd name="connsiteY2" fmla="*/ 377630 h 1349918"/>
                    <a:gd name="connsiteX3" fmla="*/ 290514 w 895350"/>
                    <a:gd name="connsiteY3" fmla="*/ 632423 h 1349918"/>
                    <a:gd name="connsiteX4" fmla="*/ 473869 w 895350"/>
                    <a:gd name="connsiteY4" fmla="*/ 815780 h 1349918"/>
                    <a:gd name="connsiteX5" fmla="*/ 642938 w 895350"/>
                    <a:gd name="connsiteY5" fmla="*/ 982467 h 1349918"/>
                    <a:gd name="connsiteX6" fmla="*/ 766763 w 895350"/>
                    <a:gd name="connsiteY6" fmla="*/ 1349180 h 1349918"/>
                    <a:gd name="connsiteX7" fmla="*/ 657225 w 895350"/>
                    <a:gd name="connsiteY7" fmla="*/ 1080099 h 1349918"/>
                    <a:gd name="connsiteX8" fmla="*/ 585788 w 895350"/>
                    <a:gd name="connsiteY8" fmla="*/ 1182492 h 1349918"/>
                    <a:gd name="connsiteX9" fmla="*/ 576263 w 895350"/>
                    <a:gd name="connsiteY9" fmla="*/ 1334892 h 1349918"/>
                    <a:gd name="connsiteX10" fmla="*/ 604838 w 895350"/>
                    <a:gd name="connsiteY10" fmla="*/ 1144392 h 1349918"/>
                    <a:gd name="connsiteX11" fmla="*/ 614362 w 895350"/>
                    <a:gd name="connsiteY11" fmla="*/ 984849 h 1349918"/>
                    <a:gd name="connsiteX12" fmla="*/ 464345 w 895350"/>
                    <a:gd name="connsiteY12" fmla="*/ 837210 h 1349918"/>
                    <a:gd name="connsiteX13" fmla="*/ 252413 w 895350"/>
                    <a:gd name="connsiteY13" fmla="*/ 668142 h 1349918"/>
                    <a:gd name="connsiteX14" fmla="*/ 171450 w 895350"/>
                    <a:gd name="connsiteY14" fmla="*/ 1011042 h 1349918"/>
                    <a:gd name="connsiteX15" fmla="*/ 219075 w 895350"/>
                    <a:gd name="connsiteY15" fmla="*/ 1258692 h 1349918"/>
                    <a:gd name="connsiteX16" fmla="*/ 200025 w 895350"/>
                    <a:gd name="connsiteY16" fmla="*/ 1334892 h 1349918"/>
                    <a:gd name="connsiteX17" fmla="*/ 228600 w 895350"/>
                    <a:gd name="connsiteY17" fmla="*/ 1258692 h 1349918"/>
                    <a:gd name="connsiteX18" fmla="*/ 171450 w 895350"/>
                    <a:gd name="connsiteY18" fmla="*/ 1111055 h 1349918"/>
                    <a:gd name="connsiteX19" fmla="*/ 42863 w 895350"/>
                    <a:gd name="connsiteY19" fmla="*/ 1234880 h 1349918"/>
                    <a:gd name="connsiteX20" fmla="*/ 0 w 895350"/>
                    <a:gd name="connsiteY20" fmla="*/ 1339655 h 1349918"/>
                    <a:gd name="connsiteX21" fmla="*/ 42863 w 895350"/>
                    <a:gd name="connsiteY21" fmla="*/ 1225355 h 1349918"/>
                    <a:gd name="connsiteX22" fmla="*/ 166688 w 895350"/>
                    <a:gd name="connsiteY22" fmla="*/ 1034855 h 1349918"/>
                    <a:gd name="connsiteX23" fmla="*/ 223838 w 895350"/>
                    <a:gd name="connsiteY23" fmla="*/ 601467 h 1349918"/>
                    <a:gd name="connsiteX24" fmla="*/ 290513 w 895350"/>
                    <a:gd name="connsiteY24" fmla="*/ 353817 h 1349918"/>
                    <a:gd name="connsiteX25" fmla="*/ 483395 w 895350"/>
                    <a:gd name="connsiteY25" fmla="*/ 72830 h 1349918"/>
                    <a:gd name="connsiteX26" fmla="*/ 895350 w 895350"/>
                    <a:gd name="connsiteY26" fmla="*/ 1392 h 1349918"/>
                    <a:gd name="connsiteX0" fmla="*/ 895350 w 895350"/>
                    <a:gd name="connsiteY0" fmla="*/ 1392 h 1349666"/>
                    <a:gd name="connsiteX1" fmla="*/ 485775 w 895350"/>
                    <a:gd name="connsiteY1" fmla="*/ 115692 h 1349666"/>
                    <a:gd name="connsiteX2" fmla="*/ 316707 w 895350"/>
                    <a:gd name="connsiteY2" fmla="*/ 377630 h 1349666"/>
                    <a:gd name="connsiteX3" fmla="*/ 290514 w 895350"/>
                    <a:gd name="connsiteY3" fmla="*/ 632423 h 1349666"/>
                    <a:gd name="connsiteX4" fmla="*/ 473869 w 895350"/>
                    <a:gd name="connsiteY4" fmla="*/ 815780 h 1349666"/>
                    <a:gd name="connsiteX5" fmla="*/ 642938 w 895350"/>
                    <a:gd name="connsiteY5" fmla="*/ 982467 h 1349666"/>
                    <a:gd name="connsiteX6" fmla="*/ 766763 w 895350"/>
                    <a:gd name="connsiteY6" fmla="*/ 1349180 h 1349666"/>
                    <a:gd name="connsiteX7" fmla="*/ 654843 w 895350"/>
                    <a:gd name="connsiteY7" fmla="*/ 1063430 h 1349666"/>
                    <a:gd name="connsiteX8" fmla="*/ 585788 w 895350"/>
                    <a:gd name="connsiteY8" fmla="*/ 1182492 h 1349666"/>
                    <a:gd name="connsiteX9" fmla="*/ 576263 w 895350"/>
                    <a:gd name="connsiteY9" fmla="*/ 1334892 h 1349666"/>
                    <a:gd name="connsiteX10" fmla="*/ 604838 w 895350"/>
                    <a:gd name="connsiteY10" fmla="*/ 1144392 h 1349666"/>
                    <a:gd name="connsiteX11" fmla="*/ 614362 w 895350"/>
                    <a:gd name="connsiteY11" fmla="*/ 984849 h 1349666"/>
                    <a:gd name="connsiteX12" fmla="*/ 464345 w 895350"/>
                    <a:gd name="connsiteY12" fmla="*/ 837210 h 1349666"/>
                    <a:gd name="connsiteX13" fmla="*/ 252413 w 895350"/>
                    <a:gd name="connsiteY13" fmla="*/ 668142 h 1349666"/>
                    <a:gd name="connsiteX14" fmla="*/ 171450 w 895350"/>
                    <a:gd name="connsiteY14" fmla="*/ 1011042 h 1349666"/>
                    <a:gd name="connsiteX15" fmla="*/ 219075 w 895350"/>
                    <a:gd name="connsiteY15" fmla="*/ 1258692 h 1349666"/>
                    <a:gd name="connsiteX16" fmla="*/ 200025 w 895350"/>
                    <a:gd name="connsiteY16" fmla="*/ 1334892 h 1349666"/>
                    <a:gd name="connsiteX17" fmla="*/ 228600 w 895350"/>
                    <a:gd name="connsiteY17" fmla="*/ 1258692 h 1349666"/>
                    <a:gd name="connsiteX18" fmla="*/ 171450 w 895350"/>
                    <a:gd name="connsiteY18" fmla="*/ 1111055 h 1349666"/>
                    <a:gd name="connsiteX19" fmla="*/ 42863 w 895350"/>
                    <a:gd name="connsiteY19" fmla="*/ 1234880 h 1349666"/>
                    <a:gd name="connsiteX20" fmla="*/ 0 w 895350"/>
                    <a:gd name="connsiteY20" fmla="*/ 1339655 h 1349666"/>
                    <a:gd name="connsiteX21" fmla="*/ 42863 w 895350"/>
                    <a:gd name="connsiteY21" fmla="*/ 1225355 h 1349666"/>
                    <a:gd name="connsiteX22" fmla="*/ 166688 w 895350"/>
                    <a:gd name="connsiteY22" fmla="*/ 1034855 h 1349666"/>
                    <a:gd name="connsiteX23" fmla="*/ 223838 w 895350"/>
                    <a:gd name="connsiteY23" fmla="*/ 601467 h 1349666"/>
                    <a:gd name="connsiteX24" fmla="*/ 290513 w 895350"/>
                    <a:gd name="connsiteY24" fmla="*/ 353817 h 1349666"/>
                    <a:gd name="connsiteX25" fmla="*/ 483395 w 895350"/>
                    <a:gd name="connsiteY25" fmla="*/ 72830 h 1349666"/>
                    <a:gd name="connsiteX26" fmla="*/ 895350 w 895350"/>
                    <a:gd name="connsiteY26" fmla="*/ 1392 h 1349666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71450 w 895350"/>
                    <a:gd name="connsiteY14" fmla="*/ 101104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42875 w 895350"/>
                    <a:gd name="connsiteY14" fmla="*/ 1006279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83357 w 895350"/>
                    <a:gd name="connsiteY14" fmla="*/ 1039617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2413 w 895350"/>
                    <a:gd name="connsiteY13" fmla="*/ 668142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1 w 895350"/>
                    <a:gd name="connsiteY13" fmla="*/ 646711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1 w 895350"/>
                    <a:gd name="connsiteY13" fmla="*/ 646711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1 w 895350"/>
                    <a:gd name="connsiteY13" fmla="*/ 646711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47649 w 895350"/>
                    <a:gd name="connsiteY13" fmla="*/ 637186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47649 w 895350"/>
                    <a:gd name="connsiteY13" fmla="*/ 637186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90514 w 895350"/>
                    <a:gd name="connsiteY3" fmla="*/ 632423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28600 w 895350"/>
                    <a:gd name="connsiteY17" fmla="*/ 1258692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6694 w 895350"/>
                    <a:gd name="connsiteY17" fmla="*/ 1249167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6694 w 895350"/>
                    <a:gd name="connsiteY17" fmla="*/ 1249167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6694 w 895350"/>
                    <a:gd name="connsiteY17" fmla="*/ 1249167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6694 w 895350"/>
                    <a:gd name="connsiteY17" fmla="*/ 1249167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02406 w 895350"/>
                    <a:gd name="connsiteY17" fmla="*/ 1249167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1931 w 895350"/>
                    <a:gd name="connsiteY17" fmla="*/ 1256310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1931 w 895350"/>
                    <a:gd name="connsiteY17" fmla="*/ 1256310 h 1349681"/>
                    <a:gd name="connsiteX18" fmla="*/ 171450 w 895350"/>
                    <a:gd name="connsiteY18" fmla="*/ 1111055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1931 w 895350"/>
                    <a:gd name="connsiteY17" fmla="*/ 1256310 h 1349681"/>
                    <a:gd name="connsiteX18" fmla="*/ 171450 w 895350"/>
                    <a:gd name="connsiteY18" fmla="*/ 1096767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1931 w 895350"/>
                    <a:gd name="connsiteY17" fmla="*/ 1256310 h 1349681"/>
                    <a:gd name="connsiteX18" fmla="*/ 171450 w 895350"/>
                    <a:gd name="connsiteY18" fmla="*/ 1096767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4838 w 895350"/>
                    <a:gd name="connsiteY10" fmla="*/ 1144392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1931 w 895350"/>
                    <a:gd name="connsiteY17" fmla="*/ 1256310 h 1349681"/>
                    <a:gd name="connsiteX18" fmla="*/ 171450 w 895350"/>
                    <a:gd name="connsiteY18" fmla="*/ 1096767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392 h 1349681"/>
                    <a:gd name="connsiteX1" fmla="*/ 485775 w 895350"/>
                    <a:gd name="connsiteY1" fmla="*/ 115692 h 1349681"/>
                    <a:gd name="connsiteX2" fmla="*/ 316707 w 895350"/>
                    <a:gd name="connsiteY2" fmla="*/ 377630 h 1349681"/>
                    <a:gd name="connsiteX3" fmla="*/ 288133 w 895350"/>
                    <a:gd name="connsiteY3" fmla="*/ 615754 h 1349681"/>
                    <a:gd name="connsiteX4" fmla="*/ 473869 w 895350"/>
                    <a:gd name="connsiteY4" fmla="*/ 815780 h 1349681"/>
                    <a:gd name="connsiteX5" fmla="*/ 642938 w 895350"/>
                    <a:gd name="connsiteY5" fmla="*/ 982467 h 1349681"/>
                    <a:gd name="connsiteX6" fmla="*/ 766763 w 895350"/>
                    <a:gd name="connsiteY6" fmla="*/ 1349180 h 1349681"/>
                    <a:gd name="connsiteX7" fmla="*/ 654843 w 895350"/>
                    <a:gd name="connsiteY7" fmla="*/ 1063430 h 1349681"/>
                    <a:gd name="connsiteX8" fmla="*/ 597695 w 895350"/>
                    <a:gd name="connsiteY8" fmla="*/ 1130104 h 1349681"/>
                    <a:gd name="connsiteX9" fmla="*/ 576263 w 895350"/>
                    <a:gd name="connsiteY9" fmla="*/ 1334892 h 1349681"/>
                    <a:gd name="connsiteX10" fmla="*/ 602457 w 895350"/>
                    <a:gd name="connsiteY10" fmla="*/ 1161061 h 1349681"/>
                    <a:gd name="connsiteX11" fmla="*/ 614362 w 895350"/>
                    <a:gd name="connsiteY11" fmla="*/ 984849 h 1349681"/>
                    <a:gd name="connsiteX12" fmla="*/ 464345 w 895350"/>
                    <a:gd name="connsiteY12" fmla="*/ 837210 h 1349681"/>
                    <a:gd name="connsiteX13" fmla="*/ 250030 w 895350"/>
                    <a:gd name="connsiteY13" fmla="*/ 625280 h 1349681"/>
                    <a:gd name="connsiteX14" fmla="*/ 190500 w 895350"/>
                    <a:gd name="connsiteY14" fmla="*/ 1030092 h 1349681"/>
                    <a:gd name="connsiteX15" fmla="*/ 219075 w 895350"/>
                    <a:gd name="connsiteY15" fmla="*/ 1258692 h 1349681"/>
                    <a:gd name="connsiteX16" fmla="*/ 200025 w 895350"/>
                    <a:gd name="connsiteY16" fmla="*/ 1334892 h 1349681"/>
                    <a:gd name="connsiteX17" fmla="*/ 211931 w 895350"/>
                    <a:gd name="connsiteY17" fmla="*/ 1256310 h 1349681"/>
                    <a:gd name="connsiteX18" fmla="*/ 171450 w 895350"/>
                    <a:gd name="connsiteY18" fmla="*/ 1096767 h 1349681"/>
                    <a:gd name="connsiteX19" fmla="*/ 42863 w 895350"/>
                    <a:gd name="connsiteY19" fmla="*/ 1234880 h 1349681"/>
                    <a:gd name="connsiteX20" fmla="*/ 0 w 895350"/>
                    <a:gd name="connsiteY20" fmla="*/ 1339655 h 1349681"/>
                    <a:gd name="connsiteX21" fmla="*/ 42863 w 895350"/>
                    <a:gd name="connsiteY21" fmla="*/ 1225355 h 1349681"/>
                    <a:gd name="connsiteX22" fmla="*/ 166688 w 895350"/>
                    <a:gd name="connsiteY22" fmla="*/ 1034855 h 1349681"/>
                    <a:gd name="connsiteX23" fmla="*/ 223838 w 895350"/>
                    <a:gd name="connsiteY23" fmla="*/ 601467 h 1349681"/>
                    <a:gd name="connsiteX24" fmla="*/ 290513 w 895350"/>
                    <a:gd name="connsiteY24" fmla="*/ 353817 h 1349681"/>
                    <a:gd name="connsiteX25" fmla="*/ 483395 w 895350"/>
                    <a:gd name="connsiteY25" fmla="*/ 72830 h 1349681"/>
                    <a:gd name="connsiteX26" fmla="*/ 895350 w 895350"/>
                    <a:gd name="connsiteY26" fmla="*/ 1392 h 1349681"/>
                    <a:gd name="connsiteX0" fmla="*/ 895350 w 895350"/>
                    <a:gd name="connsiteY0" fmla="*/ 1501 h 1349790"/>
                    <a:gd name="connsiteX1" fmla="*/ 485775 w 895350"/>
                    <a:gd name="connsiteY1" fmla="*/ 115801 h 1349790"/>
                    <a:gd name="connsiteX2" fmla="*/ 316707 w 895350"/>
                    <a:gd name="connsiteY2" fmla="*/ 377739 h 1349790"/>
                    <a:gd name="connsiteX3" fmla="*/ 288133 w 895350"/>
                    <a:gd name="connsiteY3" fmla="*/ 615863 h 1349790"/>
                    <a:gd name="connsiteX4" fmla="*/ 473869 w 895350"/>
                    <a:gd name="connsiteY4" fmla="*/ 815889 h 1349790"/>
                    <a:gd name="connsiteX5" fmla="*/ 642938 w 895350"/>
                    <a:gd name="connsiteY5" fmla="*/ 982576 h 1349790"/>
                    <a:gd name="connsiteX6" fmla="*/ 766763 w 895350"/>
                    <a:gd name="connsiteY6" fmla="*/ 1349289 h 1349790"/>
                    <a:gd name="connsiteX7" fmla="*/ 654843 w 895350"/>
                    <a:gd name="connsiteY7" fmla="*/ 1063539 h 1349790"/>
                    <a:gd name="connsiteX8" fmla="*/ 597695 w 895350"/>
                    <a:gd name="connsiteY8" fmla="*/ 1130213 h 1349790"/>
                    <a:gd name="connsiteX9" fmla="*/ 576263 w 895350"/>
                    <a:gd name="connsiteY9" fmla="*/ 1335001 h 1349790"/>
                    <a:gd name="connsiteX10" fmla="*/ 602457 w 895350"/>
                    <a:gd name="connsiteY10" fmla="*/ 1161170 h 1349790"/>
                    <a:gd name="connsiteX11" fmla="*/ 614362 w 895350"/>
                    <a:gd name="connsiteY11" fmla="*/ 984958 h 1349790"/>
                    <a:gd name="connsiteX12" fmla="*/ 464345 w 895350"/>
                    <a:gd name="connsiteY12" fmla="*/ 837319 h 1349790"/>
                    <a:gd name="connsiteX13" fmla="*/ 250030 w 895350"/>
                    <a:gd name="connsiteY13" fmla="*/ 625389 h 1349790"/>
                    <a:gd name="connsiteX14" fmla="*/ 190500 w 895350"/>
                    <a:gd name="connsiteY14" fmla="*/ 1030201 h 1349790"/>
                    <a:gd name="connsiteX15" fmla="*/ 219075 w 895350"/>
                    <a:gd name="connsiteY15" fmla="*/ 1258801 h 1349790"/>
                    <a:gd name="connsiteX16" fmla="*/ 200025 w 895350"/>
                    <a:gd name="connsiteY16" fmla="*/ 1335001 h 1349790"/>
                    <a:gd name="connsiteX17" fmla="*/ 211931 w 895350"/>
                    <a:gd name="connsiteY17" fmla="*/ 1256419 h 1349790"/>
                    <a:gd name="connsiteX18" fmla="*/ 171450 w 895350"/>
                    <a:gd name="connsiteY18" fmla="*/ 1096876 h 1349790"/>
                    <a:gd name="connsiteX19" fmla="*/ 42863 w 895350"/>
                    <a:gd name="connsiteY19" fmla="*/ 1234989 h 1349790"/>
                    <a:gd name="connsiteX20" fmla="*/ 0 w 895350"/>
                    <a:gd name="connsiteY20" fmla="*/ 1339764 h 1349790"/>
                    <a:gd name="connsiteX21" fmla="*/ 42863 w 895350"/>
                    <a:gd name="connsiteY21" fmla="*/ 1225464 h 1349790"/>
                    <a:gd name="connsiteX22" fmla="*/ 166688 w 895350"/>
                    <a:gd name="connsiteY22" fmla="*/ 1034964 h 1349790"/>
                    <a:gd name="connsiteX23" fmla="*/ 223838 w 895350"/>
                    <a:gd name="connsiteY23" fmla="*/ 601576 h 1349790"/>
                    <a:gd name="connsiteX24" fmla="*/ 288132 w 895350"/>
                    <a:gd name="connsiteY24" fmla="*/ 368214 h 1349790"/>
                    <a:gd name="connsiteX25" fmla="*/ 483395 w 895350"/>
                    <a:gd name="connsiteY25" fmla="*/ 72939 h 1349790"/>
                    <a:gd name="connsiteX26" fmla="*/ 895350 w 895350"/>
                    <a:gd name="connsiteY26" fmla="*/ 1501 h 1349790"/>
                    <a:gd name="connsiteX0" fmla="*/ 895350 w 895350"/>
                    <a:gd name="connsiteY0" fmla="*/ 1501 h 1349790"/>
                    <a:gd name="connsiteX1" fmla="*/ 485775 w 895350"/>
                    <a:gd name="connsiteY1" fmla="*/ 115801 h 1349790"/>
                    <a:gd name="connsiteX2" fmla="*/ 316707 w 895350"/>
                    <a:gd name="connsiteY2" fmla="*/ 377739 h 1349790"/>
                    <a:gd name="connsiteX3" fmla="*/ 288133 w 895350"/>
                    <a:gd name="connsiteY3" fmla="*/ 615863 h 1349790"/>
                    <a:gd name="connsiteX4" fmla="*/ 473869 w 895350"/>
                    <a:gd name="connsiteY4" fmla="*/ 815889 h 1349790"/>
                    <a:gd name="connsiteX5" fmla="*/ 642938 w 895350"/>
                    <a:gd name="connsiteY5" fmla="*/ 982576 h 1349790"/>
                    <a:gd name="connsiteX6" fmla="*/ 766763 w 895350"/>
                    <a:gd name="connsiteY6" fmla="*/ 1349289 h 1349790"/>
                    <a:gd name="connsiteX7" fmla="*/ 654843 w 895350"/>
                    <a:gd name="connsiteY7" fmla="*/ 1063539 h 1349790"/>
                    <a:gd name="connsiteX8" fmla="*/ 597695 w 895350"/>
                    <a:gd name="connsiteY8" fmla="*/ 1130213 h 1349790"/>
                    <a:gd name="connsiteX9" fmla="*/ 576263 w 895350"/>
                    <a:gd name="connsiteY9" fmla="*/ 1335001 h 1349790"/>
                    <a:gd name="connsiteX10" fmla="*/ 602457 w 895350"/>
                    <a:gd name="connsiteY10" fmla="*/ 1161170 h 1349790"/>
                    <a:gd name="connsiteX11" fmla="*/ 614362 w 895350"/>
                    <a:gd name="connsiteY11" fmla="*/ 984958 h 1349790"/>
                    <a:gd name="connsiteX12" fmla="*/ 464345 w 895350"/>
                    <a:gd name="connsiteY12" fmla="*/ 837319 h 1349790"/>
                    <a:gd name="connsiteX13" fmla="*/ 250030 w 895350"/>
                    <a:gd name="connsiteY13" fmla="*/ 625389 h 1349790"/>
                    <a:gd name="connsiteX14" fmla="*/ 190500 w 895350"/>
                    <a:gd name="connsiteY14" fmla="*/ 1030201 h 1349790"/>
                    <a:gd name="connsiteX15" fmla="*/ 219075 w 895350"/>
                    <a:gd name="connsiteY15" fmla="*/ 1258801 h 1349790"/>
                    <a:gd name="connsiteX16" fmla="*/ 200025 w 895350"/>
                    <a:gd name="connsiteY16" fmla="*/ 1335001 h 1349790"/>
                    <a:gd name="connsiteX17" fmla="*/ 211931 w 895350"/>
                    <a:gd name="connsiteY17" fmla="*/ 1256419 h 1349790"/>
                    <a:gd name="connsiteX18" fmla="*/ 171450 w 895350"/>
                    <a:gd name="connsiteY18" fmla="*/ 1096876 h 1349790"/>
                    <a:gd name="connsiteX19" fmla="*/ 42863 w 895350"/>
                    <a:gd name="connsiteY19" fmla="*/ 1234989 h 1349790"/>
                    <a:gd name="connsiteX20" fmla="*/ 0 w 895350"/>
                    <a:gd name="connsiteY20" fmla="*/ 1339764 h 1349790"/>
                    <a:gd name="connsiteX21" fmla="*/ 42863 w 895350"/>
                    <a:gd name="connsiteY21" fmla="*/ 1225464 h 1349790"/>
                    <a:gd name="connsiteX22" fmla="*/ 166688 w 895350"/>
                    <a:gd name="connsiteY22" fmla="*/ 1034964 h 1349790"/>
                    <a:gd name="connsiteX23" fmla="*/ 223838 w 895350"/>
                    <a:gd name="connsiteY23" fmla="*/ 601576 h 1349790"/>
                    <a:gd name="connsiteX24" fmla="*/ 288132 w 895350"/>
                    <a:gd name="connsiteY24" fmla="*/ 368214 h 1349790"/>
                    <a:gd name="connsiteX25" fmla="*/ 483395 w 895350"/>
                    <a:gd name="connsiteY25" fmla="*/ 72939 h 1349790"/>
                    <a:gd name="connsiteX26" fmla="*/ 895350 w 895350"/>
                    <a:gd name="connsiteY26" fmla="*/ 1501 h 1349790"/>
                    <a:gd name="connsiteX0" fmla="*/ 895350 w 895369"/>
                    <a:gd name="connsiteY0" fmla="*/ 430 h 1348719"/>
                    <a:gd name="connsiteX1" fmla="*/ 500063 w 895369"/>
                    <a:gd name="connsiteY1" fmla="*/ 90918 h 1348719"/>
                    <a:gd name="connsiteX2" fmla="*/ 316707 w 895369"/>
                    <a:gd name="connsiteY2" fmla="*/ 376668 h 1348719"/>
                    <a:gd name="connsiteX3" fmla="*/ 288133 w 895369"/>
                    <a:gd name="connsiteY3" fmla="*/ 614792 h 1348719"/>
                    <a:gd name="connsiteX4" fmla="*/ 473869 w 895369"/>
                    <a:gd name="connsiteY4" fmla="*/ 814818 h 1348719"/>
                    <a:gd name="connsiteX5" fmla="*/ 642938 w 895369"/>
                    <a:gd name="connsiteY5" fmla="*/ 981505 h 1348719"/>
                    <a:gd name="connsiteX6" fmla="*/ 766763 w 895369"/>
                    <a:gd name="connsiteY6" fmla="*/ 1348218 h 1348719"/>
                    <a:gd name="connsiteX7" fmla="*/ 654843 w 895369"/>
                    <a:gd name="connsiteY7" fmla="*/ 1062468 h 1348719"/>
                    <a:gd name="connsiteX8" fmla="*/ 597695 w 895369"/>
                    <a:gd name="connsiteY8" fmla="*/ 1129142 h 1348719"/>
                    <a:gd name="connsiteX9" fmla="*/ 576263 w 895369"/>
                    <a:gd name="connsiteY9" fmla="*/ 1333930 h 1348719"/>
                    <a:gd name="connsiteX10" fmla="*/ 602457 w 895369"/>
                    <a:gd name="connsiteY10" fmla="*/ 1160099 h 1348719"/>
                    <a:gd name="connsiteX11" fmla="*/ 614362 w 895369"/>
                    <a:gd name="connsiteY11" fmla="*/ 983887 h 1348719"/>
                    <a:gd name="connsiteX12" fmla="*/ 464345 w 895369"/>
                    <a:gd name="connsiteY12" fmla="*/ 836248 h 1348719"/>
                    <a:gd name="connsiteX13" fmla="*/ 250030 w 895369"/>
                    <a:gd name="connsiteY13" fmla="*/ 624318 h 1348719"/>
                    <a:gd name="connsiteX14" fmla="*/ 190500 w 895369"/>
                    <a:gd name="connsiteY14" fmla="*/ 1029130 h 1348719"/>
                    <a:gd name="connsiteX15" fmla="*/ 219075 w 895369"/>
                    <a:gd name="connsiteY15" fmla="*/ 1257730 h 1348719"/>
                    <a:gd name="connsiteX16" fmla="*/ 200025 w 895369"/>
                    <a:gd name="connsiteY16" fmla="*/ 1333930 h 1348719"/>
                    <a:gd name="connsiteX17" fmla="*/ 211931 w 895369"/>
                    <a:gd name="connsiteY17" fmla="*/ 1255348 h 1348719"/>
                    <a:gd name="connsiteX18" fmla="*/ 171450 w 895369"/>
                    <a:gd name="connsiteY18" fmla="*/ 1095805 h 1348719"/>
                    <a:gd name="connsiteX19" fmla="*/ 42863 w 895369"/>
                    <a:gd name="connsiteY19" fmla="*/ 1233918 h 1348719"/>
                    <a:gd name="connsiteX20" fmla="*/ 0 w 895369"/>
                    <a:gd name="connsiteY20" fmla="*/ 1338693 h 1348719"/>
                    <a:gd name="connsiteX21" fmla="*/ 42863 w 895369"/>
                    <a:gd name="connsiteY21" fmla="*/ 1224393 h 1348719"/>
                    <a:gd name="connsiteX22" fmla="*/ 166688 w 895369"/>
                    <a:gd name="connsiteY22" fmla="*/ 1033893 h 1348719"/>
                    <a:gd name="connsiteX23" fmla="*/ 223838 w 895369"/>
                    <a:gd name="connsiteY23" fmla="*/ 600505 h 1348719"/>
                    <a:gd name="connsiteX24" fmla="*/ 288132 w 895369"/>
                    <a:gd name="connsiteY24" fmla="*/ 367143 h 1348719"/>
                    <a:gd name="connsiteX25" fmla="*/ 483395 w 895369"/>
                    <a:gd name="connsiteY25" fmla="*/ 71868 h 1348719"/>
                    <a:gd name="connsiteX26" fmla="*/ 895350 w 895369"/>
                    <a:gd name="connsiteY26" fmla="*/ 430 h 1348719"/>
                    <a:gd name="connsiteX0" fmla="*/ 895350 w 895367"/>
                    <a:gd name="connsiteY0" fmla="*/ 430 h 1348719"/>
                    <a:gd name="connsiteX1" fmla="*/ 500063 w 895367"/>
                    <a:gd name="connsiteY1" fmla="*/ 90918 h 1348719"/>
                    <a:gd name="connsiteX2" fmla="*/ 316707 w 895367"/>
                    <a:gd name="connsiteY2" fmla="*/ 376668 h 1348719"/>
                    <a:gd name="connsiteX3" fmla="*/ 288133 w 895367"/>
                    <a:gd name="connsiteY3" fmla="*/ 614792 h 1348719"/>
                    <a:gd name="connsiteX4" fmla="*/ 473869 w 895367"/>
                    <a:gd name="connsiteY4" fmla="*/ 814818 h 1348719"/>
                    <a:gd name="connsiteX5" fmla="*/ 642938 w 895367"/>
                    <a:gd name="connsiteY5" fmla="*/ 981505 h 1348719"/>
                    <a:gd name="connsiteX6" fmla="*/ 766763 w 895367"/>
                    <a:gd name="connsiteY6" fmla="*/ 1348218 h 1348719"/>
                    <a:gd name="connsiteX7" fmla="*/ 654843 w 895367"/>
                    <a:gd name="connsiteY7" fmla="*/ 1062468 h 1348719"/>
                    <a:gd name="connsiteX8" fmla="*/ 597695 w 895367"/>
                    <a:gd name="connsiteY8" fmla="*/ 1129142 h 1348719"/>
                    <a:gd name="connsiteX9" fmla="*/ 576263 w 895367"/>
                    <a:gd name="connsiteY9" fmla="*/ 1333930 h 1348719"/>
                    <a:gd name="connsiteX10" fmla="*/ 602457 w 895367"/>
                    <a:gd name="connsiteY10" fmla="*/ 1160099 h 1348719"/>
                    <a:gd name="connsiteX11" fmla="*/ 614362 w 895367"/>
                    <a:gd name="connsiteY11" fmla="*/ 983887 h 1348719"/>
                    <a:gd name="connsiteX12" fmla="*/ 464345 w 895367"/>
                    <a:gd name="connsiteY12" fmla="*/ 836248 h 1348719"/>
                    <a:gd name="connsiteX13" fmla="*/ 250030 w 895367"/>
                    <a:gd name="connsiteY13" fmla="*/ 624318 h 1348719"/>
                    <a:gd name="connsiteX14" fmla="*/ 190500 w 895367"/>
                    <a:gd name="connsiteY14" fmla="*/ 1029130 h 1348719"/>
                    <a:gd name="connsiteX15" fmla="*/ 219075 w 895367"/>
                    <a:gd name="connsiteY15" fmla="*/ 1257730 h 1348719"/>
                    <a:gd name="connsiteX16" fmla="*/ 200025 w 895367"/>
                    <a:gd name="connsiteY16" fmla="*/ 1333930 h 1348719"/>
                    <a:gd name="connsiteX17" fmla="*/ 211931 w 895367"/>
                    <a:gd name="connsiteY17" fmla="*/ 1255348 h 1348719"/>
                    <a:gd name="connsiteX18" fmla="*/ 171450 w 895367"/>
                    <a:gd name="connsiteY18" fmla="*/ 1095805 h 1348719"/>
                    <a:gd name="connsiteX19" fmla="*/ 42863 w 895367"/>
                    <a:gd name="connsiteY19" fmla="*/ 1233918 h 1348719"/>
                    <a:gd name="connsiteX20" fmla="*/ 0 w 895367"/>
                    <a:gd name="connsiteY20" fmla="*/ 1338693 h 1348719"/>
                    <a:gd name="connsiteX21" fmla="*/ 42863 w 895367"/>
                    <a:gd name="connsiteY21" fmla="*/ 1224393 h 1348719"/>
                    <a:gd name="connsiteX22" fmla="*/ 166688 w 895367"/>
                    <a:gd name="connsiteY22" fmla="*/ 1033893 h 1348719"/>
                    <a:gd name="connsiteX23" fmla="*/ 223838 w 895367"/>
                    <a:gd name="connsiteY23" fmla="*/ 600505 h 1348719"/>
                    <a:gd name="connsiteX24" fmla="*/ 288132 w 895367"/>
                    <a:gd name="connsiteY24" fmla="*/ 367143 h 1348719"/>
                    <a:gd name="connsiteX25" fmla="*/ 483395 w 895367"/>
                    <a:gd name="connsiteY25" fmla="*/ 71868 h 1348719"/>
                    <a:gd name="connsiteX26" fmla="*/ 895350 w 895367"/>
                    <a:gd name="connsiteY26" fmla="*/ 430 h 1348719"/>
                    <a:gd name="connsiteX0" fmla="*/ 895350 w 895369"/>
                    <a:gd name="connsiteY0" fmla="*/ 430 h 1348719"/>
                    <a:gd name="connsiteX1" fmla="*/ 500063 w 895369"/>
                    <a:gd name="connsiteY1" fmla="*/ 90918 h 1348719"/>
                    <a:gd name="connsiteX2" fmla="*/ 314326 w 895369"/>
                    <a:gd name="connsiteY2" fmla="*/ 376668 h 1348719"/>
                    <a:gd name="connsiteX3" fmla="*/ 288133 w 895369"/>
                    <a:gd name="connsiteY3" fmla="*/ 614792 h 1348719"/>
                    <a:gd name="connsiteX4" fmla="*/ 473869 w 895369"/>
                    <a:gd name="connsiteY4" fmla="*/ 814818 h 1348719"/>
                    <a:gd name="connsiteX5" fmla="*/ 642938 w 895369"/>
                    <a:gd name="connsiteY5" fmla="*/ 981505 h 1348719"/>
                    <a:gd name="connsiteX6" fmla="*/ 766763 w 895369"/>
                    <a:gd name="connsiteY6" fmla="*/ 1348218 h 1348719"/>
                    <a:gd name="connsiteX7" fmla="*/ 654843 w 895369"/>
                    <a:gd name="connsiteY7" fmla="*/ 1062468 h 1348719"/>
                    <a:gd name="connsiteX8" fmla="*/ 597695 w 895369"/>
                    <a:gd name="connsiteY8" fmla="*/ 1129142 h 1348719"/>
                    <a:gd name="connsiteX9" fmla="*/ 576263 w 895369"/>
                    <a:gd name="connsiteY9" fmla="*/ 1333930 h 1348719"/>
                    <a:gd name="connsiteX10" fmla="*/ 602457 w 895369"/>
                    <a:gd name="connsiteY10" fmla="*/ 1160099 h 1348719"/>
                    <a:gd name="connsiteX11" fmla="*/ 614362 w 895369"/>
                    <a:gd name="connsiteY11" fmla="*/ 983887 h 1348719"/>
                    <a:gd name="connsiteX12" fmla="*/ 464345 w 895369"/>
                    <a:gd name="connsiteY12" fmla="*/ 836248 h 1348719"/>
                    <a:gd name="connsiteX13" fmla="*/ 250030 w 895369"/>
                    <a:gd name="connsiteY13" fmla="*/ 624318 h 1348719"/>
                    <a:gd name="connsiteX14" fmla="*/ 190500 w 895369"/>
                    <a:gd name="connsiteY14" fmla="*/ 1029130 h 1348719"/>
                    <a:gd name="connsiteX15" fmla="*/ 219075 w 895369"/>
                    <a:gd name="connsiteY15" fmla="*/ 1257730 h 1348719"/>
                    <a:gd name="connsiteX16" fmla="*/ 200025 w 895369"/>
                    <a:gd name="connsiteY16" fmla="*/ 1333930 h 1348719"/>
                    <a:gd name="connsiteX17" fmla="*/ 211931 w 895369"/>
                    <a:gd name="connsiteY17" fmla="*/ 1255348 h 1348719"/>
                    <a:gd name="connsiteX18" fmla="*/ 171450 w 895369"/>
                    <a:gd name="connsiteY18" fmla="*/ 1095805 h 1348719"/>
                    <a:gd name="connsiteX19" fmla="*/ 42863 w 895369"/>
                    <a:gd name="connsiteY19" fmla="*/ 1233918 h 1348719"/>
                    <a:gd name="connsiteX20" fmla="*/ 0 w 895369"/>
                    <a:gd name="connsiteY20" fmla="*/ 1338693 h 1348719"/>
                    <a:gd name="connsiteX21" fmla="*/ 42863 w 895369"/>
                    <a:gd name="connsiteY21" fmla="*/ 1224393 h 1348719"/>
                    <a:gd name="connsiteX22" fmla="*/ 166688 w 895369"/>
                    <a:gd name="connsiteY22" fmla="*/ 1033893 h 1348719"/>
                    <a:gd name="connsiteX23" fmla="*/ 223838 w 895369"/>
                    <a:gd name="connsiteY23" fmla="*/ 600505 h 1348719"/>
                    <a:gd name="connsiteX24" fmla="*/ 288132 w 895369"/>
                    <a:gd name="connsiteY24" fmla="*/ 367143 h 1348719"/>
                    <a:gd name="connsiteX25" fmla="*/ 483395 w 895369"/>
                    <a:gd name="connsiteY25" fmla="*/ 71868 h 1348719"/>
                    <a:gd name="connsiteX26" fmla="*/ 895350 w 895369"/>
                    <a:gd name="connsiteY26" fmla="*/ 430 h 1348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95369" h="1348719">
                      <a:moveTo>
                        <a:pt x="895350" y="430"/>
                      </a:moveTo>
                      <a:cubicBezTo>
                        <a:pt x="898128" y="3605"/>
                        <a:pt x="596900" y="28212"/>
                        <a:pt x="500063" y="90918"/>
                      </a:cubicBezTo>
                      <a:cubicBezTo>
                        <a:pt x="403226" y="153624"/>
                        <a:pt x="349648" y="289356"/>
                        <a:pt x="314326" y="376668"/>
                      </a:cubicBezTo>
                      <a:cubicBezTo>
                        <a:pt x="279004" y="463980"/>
                        <a:pt x="261543" y="541767"/>
                        <a:pt x="288133" y="614792"/>
                      </a:cubicBezTo>
                      <a:cubicBezTo>
                        <a:pt x="314723" y="687817"/>
                        <a:pt x="415132" y="756477"/>
                        <a:pt x="473869" y="814818"/>
                      </a:cubicBezTo>
                      <a:cubicBezTo>
                        <a:pt x="532606" y="873159"/>
                        <a:pt x="594122" y="892605"/>
                        <a:pt x="642938" y="981505"/>
                      </a:cubicBezTo>
                      <a:cubicBezTo>
                        <a:pt x="691754" y="1070405"/>
                        <a:pt x="764779" y="1334724"/>
                        <a:pt x="766763" y="1348218"/>
                      </a:cubicBezTo>
                      <a:cubicBezTo>
                        <a:pt x="768747" y="1361712"/>
                        <a:pt x="683021" y="1098981"/>
                        <a:pt x="654843" y="1062468"/>
                      </a:cubicBezTo>
                      <a:cubicBezTo>
                        <a:pt x="626665" y="1025955"/>
                        <a:pt x="610792" y="1083898"/>
                        <a:pt x="597695" y="1129142"/>
                      </a:cubicBezTo>
                      <a:cubicBezTo>
                        <a:pt x="584598" y="1174386"/>
                        <a:pt x="575469" y="1328771"/>
                        <a:pt x="576263" y="1333930"/>
                      </a:cubicBezTo>
                      <a:cubicBezTo>
                        <a:pt x="577057" y="1339090"/>
                        <a:pt x="596107" y="1218439"/>
                        <a:pt x="602457" y="1160099"/>
                      </a:cubicBezTo>
                      <a:cubicBezTo>
                        <a:pt x="608807" y="1101759"/>
                        <a:pt x="637381" y="1037862"/>
                        <a:pt x="614362" y="983887"/>
                      </a:cubicBezTo>
                      <a:cubicBezTo>
                        <a:pt x="591343" y="929912"/>
                        <a:pt x="525067" y="896176"/>
                        <a:pt x="464345" y="836248"/>
                      </a:cubicBezTo>
                      <a:lnTo>
                        <a:pt x="250030" y="624318"/>
                      </a:lnTo>
                      <a:cubicBezTo>
                        <a:pt x="230582" y="670753"/>
                        <a:pt x="195659" y="923561"/>
                        <a:pt x="190500" y="1029130"/>
                      </a:cubicBezTo>
                      <a:cubicBezTo>
                        <a:pt x="185341" y="1134699"/>
                        <a:pt x="217488" y="1206930"/>
                        <a:pt x="219075" y="1257730"/>
                      </a:cubicBezTo>
                      <a:cubicBezTo>
                        <a:pt x="220663" y="1308530"/>
                        <a:pt x="201216" y="1334327"/>
                        <a:pt x="200025" y="1333930"/>
                      </a:cubicBezTo>
                      <a:cubicBezTo>
                        <a:pt x="198834" y="1333533"/>
                        <a:pt x="216694" y="1295036"/>
                        <a:pt x="211931" y="1255348"/>
                      </a:cubicBezTo>
                      <a:cubicBezTo>
                        <a:pt x="207169" y="1215661"/>
                        <a:pt x="188516" y="1155336"/>
                        <a:pt x="171450" y="1095805"/>
                      </a:cubicBezTo>
                      <a:cubicBezTo>
                        <a:pt x="137716" y="1143429"/>
                        <a:pt x="71438" y="1193437"/>
                        <a:pt x="42863" y="1233918"/>
                      </a:cubicBezTo>
                      <a:cubicBezTo>
                        <a:pt x="14288" y="1274399"/>
                        <a:pt x="0" y="1340280"/>
                        <a:pt x="0" y="1338693"/>
                      </a:cubicBezTo>
                      <a:cubicBezTo>
                        <a:pt x="0" y="1337106"/>
                        <a:pt x="15082" y="1275193"/>
                        <a:pt x="42863" y="1224393"/>
                      </a:cubicBezTo>
                      <a:cubicBezTo>
                        <a:pt x="70644" y="1173593"/>
                        <a:pt x="148432" y="1137874"/>
                        <a:pt x="166688" y="1033893"/>
                      </a:cubicBezTo>
                      <a:cubicBezTo>
                        <a:pt x="184944" y="929912"/>
                        <a:pt x="203597" y="711630"/>
                        <a:pt x="223838" y="600505"/>
                      </a:cubicBezTo>
                      <a:cubicBezTo>
                        <a:pt x="244079" y="489380"/>
                        <a:pt x="254397" y="460011"/>
                        <a:pt x="288132" y="367143"/>
                      </a:cubicBezTo>
                      <a:cubicBezTo>
                        <a:pt x="321867" y="274275"/>
                        <a:pt x="382192" y="132987"/>
                        <a:pt x="483395" y="71868"/>
                      </a:cubicBezTo>
                      <a:cubicBezTo>
                        <a:pt x="584598" y="10749"/>
                        <a:pt x="892572" y="-2745"/>
                        <a:pt x="895350" y="430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063">
                    <a:defRPr/>
                  </a:pPr>
                  <a:endParaRPr lang="en-US" sz="1799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" name="Freeform 24">
                  <a:extLst>
                    <a:ext uri="{FF2B5EF4-FFF2-40B4-BE49-F238E27FC236}">
                      <a16:creationId xmlns:a16="http://schemas.microsoft.com/office/drawing/2014/main" id="{12E99C62-0D01-4104-9C40-49048159D809}"/>
                    </a:ext>
                  </a:extLst>
                </p:cNvPr>
                <p:cNvSpPr/>
                <p:nvPr/>
              </p:nvSpPr>
              <p:spPr>
                <a:xfrm>
                  <a:off x="80921" y="3198597"/>
                  <a:ext cx="1121708" cy="813824"/>
                </a:xfrm>
                <a:custGeom>
                  <a:avLst/>
                  <a:gdLst>
                    <a:gd name="connsiteX0" fmla="*/ 995362 w 1122580"/>
                    <a:gd name="connsiteY0" fmla="*/ 71899 h 815018"/>
                    <a:gd name="connsiteX1" fmla="*/ 397668 w 1122580"/>
                    <a:gd name="connsiteY1" fmla="*/ 369556 h 815018"/>
                    <a:gd name="connsiteX2" fmla="*/ 0 w 1122580"/>
                    <a:gd name="connsiteY2" fmla="*/ 814849 h 815018"/>
                    <a:gd name="connsiteX3" fmla="*/ 400050 w 1122580"/>
                    <a:gd name="connsiteY3" fmla="*/ 317168 h 815018"/>
                    <a:gd name="connsiteX4" fmla="*/ 1073943 w 1122580"/>
                    <a:gd name="connsiteY4" fmla="*/ 17131 h 815018"/>
                    <a:gd name="connsiteX5" fmla="*/ 995362 w 1122580"/>
                    <a:gd name="connsiteY5" fmla="*/ 71899 h 815018"/>
                    <a:gd name="connsiteX0" fmla="*/ 995404 w 1121708"/>
                    <a:gd name="connsiteY0" fmla="*/ 70859 h 813824"/>
                    <a:gd name="connsiteX1" fmla="*/ 421523 w 1121708"/>
                    <a:gd name="connsiteY1" fmla="*/ 332797 h 813824"/>
                    <a:gd name="connsiteX2" fmla="*/ 42 w 1121708"/>
                    <a:gd name="connsiteY2" fmla="*/ 813809 h 813824"/>
                    <a:gd name="connsiteX3" fmla="*/ 400092 w 1121708"/>
                    <a:gd name="connsiteY3" fmla="*/ 316128 h 813824"/>
                    <a:gd name="connsiteX4" fmla="*/ 1073985 w 1121708"/>
                    <a:gd name="connsiteY4" fmla="*/ 16091 h 813824"/>
                    <a:gd name="connsiteX5" fmla="*/ 995404 w 1121708"/>
                    <a:gd name="connsiteY5" fmla="*/ 70859 h 813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21708" h="813824">
                      <a:moveTo>
                        <a:pt x="995404" y="70859"/>
                      </a:moveTo>
                      <a:cubicBezTo>
                        <a:pt x="886660" y="123643"/>
                        <a:pt x="587417" y="208972"/>
                        <a:pt x="421523" y="332797"/>
                      </a:cubicBezTo>
                      <a:cubicBezTo>
                        <a:pt x="255629" y="456622"/>
                        <a:pt x="3614" y="816587"/>
                        <a:pt x="42" y="813809"/>
                      </a:cubicBezTo>
                      <a:cubicBezTo>
                        <a:pt x="-3530" y="811031"/>
                        <a:pt x="221101" y="449081"/>
                        <a:pt x="400092" y="316128"/>
                      </a:cubicBezTo>
                      <a:cubicBezTo>
                        <a:pt x="579082" y="183175"/>
                        <a:pt x="975163" y="56572"/>
                        <a:pt x="1073985" y="16091"/>
                      </a:cubicBezTo>
                      <a:cubicBezTo>
                        <a:pt x="1172807" y="-24390"/>
                        <a:pt x="1104148" y="18075"/>
                        <a:pt x="995404" y="70859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063">
                    <a:defRPr/>
                  </a:pPr>
                  <a:endParaRPr lang="en-US" sz="1799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6" name="Freeform 25">
                  <a:extLst>
                    <a:ext uri="{FF2B5EF4-FFF2-40B4-BE49-F238E27FC236}">
                      <a16:creationId xmlns:a16="http://schemas.microsoft.com/office/drawing/2014/main" id="{9DB8F118-791A-4387-806C-06753778F5BC}"/>
                    </a:ext>
                  </a:extLst>
                </p:cNvPr>
                <p:cNvSpPr/>
                <p:nvPr/>
              </p:nvSpPr>
              <p:spPr>
                <a:xfrm>
                  <a:off x="334772" y="3523518"/>
                  <a:ext cx="212216" cy="548324"/>
                </a:xfrm>
                <a:custGeom>
                  <a:avLst/>
                  <a:gdLst>
                    <a:gd name="connsiteX0" fmla="*/ 176497 w 212216"/>
                    <a:gd name="connsiteY0" fmla="*/ 53 h 523928"/>
                    <a:gd name="connsiteX1" fmla="*/ 133635 w 212216"/>
                    <a:gd name="connsiteY1" fmla="*/ 223891 h 523928"/>
                    <a:gd name="connsiteX2" fmla="*/ 212216 w 212216"/>
                    <a:gd name="connsiteY2" fmla="*/ 523928 h 523928"/>
                    <a:gd name="connsiteX3" fmla="*/ 126491 w 212216"/>
                    <a:gd name="connsiteY3" fmla="*/ 302472 h 523928"/>
                    <a:gd name="connsiteX4" fmla="*/ 21716 w 212216"/>
                    <a:gd name="connsiteY4" fmla="*/ 412010 h 523928"/>
                    <a:gd name="connsiteX5" fmla="*/ 5047 w 212216"/>
                    <a:gd name="connsiteY5" fmla="*/ 507260 h 523928"/>
                    <a:gd name="connsiteX6" fmla="*/ 9810 w 212216"/>
                    <a:gd name="connsiteY6" fmla="*/ 385816 h 523928"/>
                    <a:gd name="connsiteX7" fmla="*/ 124110 w 212216"/>
                    <a:gd name="connsiteY7" fmla="*/ 242941 h 523928"/>
                    <a:gd name="connsiteX8" fmla="*/ 176497 w 212216"/>
                    <a:gd name="connsiteY8" fmla="*/ 53 h 523928"/>
                    <a:gd name="connsiteX0" fmla="*/ 176497 w 212216"/>
                    <a:gd name="connsiteY0" fmla="*/ 20 h 523895"/>
                    <a:gd name="connsiteX1" fmla="*/ 133635 w 212216"/>
                    <a:gd name="connsiteY1" fmla="*/ 223858 h 523895"/>
                    <a:gd name="connsiteX2" fmla="*/ 212216 w 212216"/>
                    <a:gd name="connsiteY2" fmla="*/ 523895 h 523895"/>
                    <a:gd name="connsiteX3" fmla="*/ 126491 w 212216"/>
                    <a:gd name="connsiteY3" fmla="*/ 302439 h 523895"/>
                    <a:gd name="connsiteX4" fmla="*/ 21716 w 212216"/>
                    <a:gd name="connsiteY4" fmla="*/ 411977 h 523895"/>
                    <a:gd name="connsiteX5" fmla="*/ 5047 w 212216"/>
                    <a:gd name="connsiteY5" fmla="*/ 507227 h 523895"/>
                    <a:gd name="connsiteX6" fmla="*/ 9810 w 212216"/>
                    <a:gd name="connsiteY6" fmla="*/ 385783 h 523895"/>
                    <a:gd name="connsiteX7" fmla="*/ 119348 w 212216"/>
                    <a:gd name="connsiteY7" fmla="*/ 211951 h 523895"/>
                    <a:gd name="connsiteX8" fmla="*/ 176497 w 212216"/>
                    <a:gd name="connsiteY8" fmla="*/ 20 h 523895"/>
                    <a:gd name="connsiteX0" fmla="*/ 176497 w 212216"/>
                    <a:gd name="connsiteY0" fmla="*/ 20 h 523895"/>
                    <a:gd name="connsiteX1" fmla="*/ 145541 w 212216"/>
                    <a:gd name="connsiteY1" fmla="*/ 223858 h 523895"/>
                    <a:gd name="connsiteX2" fmla="*/ 212216 w 212216"/>
                    <a:gd name="connsiteY2" fmla="*/ 523895 h 523895"/>
                    <a:gd name="connsiteX3" fmla="*/ 126491 w 212216"/>
                    <a:gd name="connsiteY3" fmla="*/ 302439 h 523895"/>
                    <a:gd name="connsiteX4" fmla="*/ 21716 w 212216"/>
                    <a:gd name="connsiteY4" fmla="*/ 411977 h 523895"/>
                    <a:gd name="connsiteX5" fmla="*/ 5047 w 212216"/>
                    <a:gd name="connsiteY5" fmla="*/ 507227 h 523895"/>
                    <a:gd name="connsiteX6" fmla="*/ 9810 w 212216"/>
                    <a:gd name="connsiteY6" fmla="*/ 385783 h 523895"/>
                    <a:gd name="connsiteX7" fmla="*/ 119348 w 212216"/>
                    <a:gd name="connsiteY7" fmla="*/ 211951 h 523895"/>
                    <a:gd name="connsiteX8" fmla="*/ 176497 w 212216"/>
                    <a:gd name="connsiteY8" fmla="*/ 20 h 523895"/>
                    <a:gd name="connsiteX0" fmla="*/ 176497 w 212216"/>
                    <a:gd name="connsiteY0" fmla="*/ 20 h 523895"/>
                    <a:gd name="connsiteX1" fmla="*/ 145541 w 212216"/>
                    <a:gd name="connsiteY1" fmla="*/ 223858 h 523895"/>
                    <a:gd name="connsiteX2" fmla="*/ 212216 w 212216"/>
                    <a:gd name="connsiteY2" fmla="*/ 523895 h 523895"/>
                    <a:gd name="connsiteX3" fmla="*/ 126491 w 212216"/>
                    <a:gd name="connsiteY3" fmla="*/ 302439 h 523895"/>
                    <a:gd name="connsiteX4" fmla="*/ 28860 w 212216"/>
                    <a:gd name="connsiteY4" fmla="*/ 392927 h 523895"/>
                    <a:gd name="connsiteX5" fmla="*/ 5047 w 212216"/>
                    <a:gd name="connsiteY5" fmla="*/ 507227 h 523895"/>
                    <a:gd name="connsiteX6" fmla="*/ 9810 w 212216"/>
                    <a:gd name="connsiteY6" fmla="*/ 385783 h 523895"/>
                    <a:gd name="connsiteX7" fmla="*/ 119348 w 212216"/>
                    <a:gd name="connsiteY7" fmla="*/ 211951 h 523895"/>
                    <a:gd name="connsiteX8" fmla="*/ 176497 w 212216"/>
                    <a:gd name="connsiteY8" fmla="*/ 20 h 523895"/>
                    <a:gd name="connsiteX0" fmla="*/ 176497 w 212216"/>
                    <a:gd name="connsiteY0" fmla="*/ 20 h 523895"/>
                    <a:gd name="connsiteX1" fmla="*/ 155066 w 212216"/>
                    <a:gd name="connsiteY1" fmla="*/ 223858 h 523895"/>
                    <a:gd name="connsiteX2" fmla="*/ 212216 w 212216"/>
                    <a:gd name="connsiteY2" fmla="*/ 523895 h 523895"/>
                    <a:gd name="connsiteX3" fmla="*/ 126491 w 212216"/>
                    <a:gd name="connsiteY3" fmla="*/ 302439 h 523895"/>
                    <a:gd name="connsiteX4" fmla="*/ 28860 w 212216"/>
                    <a:gd name="connsiteY4" fmla="*/ 392927 h 523895"/>
                    <a:gd name="connsiteX5" fmla="*/ 5047 w 212216"/>
                    <a:gd name="connsiteY5" fmla="*/ 507227 h 523895"/>
                    <a:gd name="connsiteX6" fmla="*/ 9810 w 212216"/>
                    <a:gd name="connsiteY6" fmla="*/ 385783 h 523895"/>
                    <a:gd name="connsiteX7" fmla="*/ 119348 w 212216"/>
                    <a:gd name="connsiteY7" fmla="*/ 211951 h 523895"/>
                    <a:gd name="connsiteX8" fmla="*/ 176497 w 212216"/>
                    <a:gd name="connsiteY8" fmla="*/ 20 h 523895"/>
                    <a:gd name="connsiteX0" fmla="*/ 190784 w 212216"/>
                    <a:gd name="connsiteY0" fmla="*/ 17 h 547704"/>
                    <a:gd name="connsiteX1" fmla="*/ 155066 w 212216"/>
                    <a:gd name="connsiteY1" fmla="*/ 247667 h 547704"/>
                    <a:gd name="connsiteX2" fmla="*/ 212216 w 212216"/>
                    <a:gd name="connsiteY2" fmla="*/ 547704 h 547704"/>
                    <a:gd name="connsiteX3" fmla="*/ 126491 w 212216"/>
                    <a:gd name="connsiteY3" fmla="*/ 326248 h 547704"/>
                    <a:gd name="connsiteX4" fmla="*/ 28860 w 212216"/>
                    <a:gd name="connsiteY4" fmla="*/ 416736 h 547704"/>
                    <a:gd name="connsiteX5" fmla="*/ 5047 w 212216"/>
                    <a:gd name="connsiteY5" fmla="*/ 531036 h 547704"/>
                    <a:gd name="connsiteX6" fmla="*/ 9810 w 212216"/>
                    <a:gd name="connsiteY6" fmla="*/ 409592 h 547704"/>
                    <a:gd name="connsiteX7" fmla="*/ 119348 w 212216"/>
                    <a:gd name="connsiteY7" fmla="*/ 235760 h 547704"/>
                    <a:gd name="connsiteX8" fmla="*/ 190784 w 212216"/>
                    <a:gd name="connsiteY8" fmla="*/ 17 h 547704"/>
                    <a:gd name="connsiteX0" fmla="*/ 190784 w 212216"/>
                    <a:gd name="connsiteY0" fmla="*/ 251 h 547938"/>
                    <a:gd name="connsiteX1" fmla="*/ 155066 w 212216"/>
                    <a:gd name="connsiteY1" fmla="*/ 247901 h 547938"/>
                    <a:gd name="connsiteX2" fmla="*/ 212216 w 212216"/>
                    <a:gd name="connsiteY2" fmla="*/ 547938 h 547938"/>
                    <a:gd name="connsiteX3" fmla="*/ 126491 w 212216"/>
                    <a:gd name="connsiteY3" fmla="*/ 326482 h 547938"/>
                    <a:gd name="connsiteX4" fmla="*/ 28860 w 212216"/>
                    <a:gd name="connsiteY4" fmla="*/ 416970 h 547938"/>
                    <a:gd name="connsiteX5" fmla="*/ 5047 w 212216"/>
                    <a:gd name="connsiteY5" fmla="*/ 531270 h 547938"/>
                    <a:gd name="connsiteX6" fmla="*/ 9810 w 212216"/>
                    <a:gd name="connsiteY6" fmla="*/ 409826 h 547938"/>
                    <a:gd name="connsiteX7" fmla="*/ 119348 w 212216"/>
                    <a:gd name="connsiteY7" fmla="*/ 235994 h 547938"/>
                    <a:gd name="connsiteX8" fmla="*/ 190784 w 212216"/>
                    <a:gd name="connsiteY8" fmla="*/ 251 h 547938"/>
                    <a:gd name="connsiteX0" fmla="*/ 190784 w 212216"/>
                    <a:gd name="connsiteY0" fmla="*/ 637 h 548324"/>
                    <a:gd name="connsiteX1" fmla="*/ 155066 w 212216"/>
                    <a:gd name="connsiteY1" fmla="*/ 248287 h 548324"/>
                    <a:gd name="connsiteX2" fmla="*/ 212216 w 212216"/>
                    <a:gd name="connsiteY2" fmla="*/ 548324 h 548324"/>
                    <a:gd name="connsiteX3" fmla="*/ 126491 w 212216"/>
                    <a:gd name="connsiteY3" fmla="*/ 326868 h 548324"/>
                    <a:gd name="connsiteX4" fmla="*/ 28860 w 212216"/>
                    <a:gd name="connsiteY4" fmla="*/ 417356 h 548324"/>
                    <a:gd name="connsiteX5" fmla="*/ 5047 w 212216"/>
                    <a:gd name="connsiteY5" fmla="*/ 531656 h 548324"/>
                    <a:gd name="connsiteX6" fmla="*/ 9810 w 212216"/>
                    <a:gd name="connsiteY6" fmla="*/ 410212 h 548324"/>
                    <a:gd name="connsiteX7" fmla="*/ 119348 w 212216"/>
                    <a:gd name="connsiteY7" fmla="*/ 236380 h 548324"/>
                    <a:gd name="connsiteX8" fmla="*/ 190784 w 212216"/>
                    <a:gd name="connsiteY8" fmla="*/ 637 h 548324"/>
                    <a:gd name="connsiteX0" fmla="*/ 190784 w 212216"/>
                    <a:gd name="connsiteY0" fmla="*/ 637 h 548324"/>
                    <a:gd name="connsiteX1" fmla="*/ 155066 w 212216"/>
                    <a:gd name="connsiteY1" fmla="*/ 248287 h 548324"/>
                    <a:gd name="connsiteX2" fmla="*/ 212216 w 212216"/>
                    <a:gd name="connsiteY2" fmla="*/ 548324 h 548324"/>
                    <a:gd name="connsiteX3" fmla="*/ 126491 w 212216"/>
                    <a:gd name="connsiteY3" fmla="*/ 326868 h 548324"/>
                    <a:gd name="connsiteX4" fmla="*/ 28860 w 212216"/>
                    <a:gd name="connsiteY4" fmla="*/ 417356 h 548324"/>
                    <a:gd name="connsiteX5" fmla="*/ 5047 w 212216"/>
                    <a:gd name="connsiteY5" fmla="*/ 531656 h 548324"/>
                    <a:gd name="connsiteX6" fmla="*/ 9810 w 212216"/>
                    <a:gd name="connsiteY6" fmla="*/ 410212 h 548324"/>
                    <a:gd name="connsiteX7" fmla="*/ 119348 w 212216"/>
                    <a:gd name="connsiteY7" fmla="*/ 236380 h 548324"/>
                    <a:gd name="connsiteX8" fmla="*/ 190784 w 212216"/>
                    <a:gd name="connsiteY8" fmla="*/ 637 h 548324"/>
                    <a:gd name="connsiteX0" fmla="*/ 190784 w 212216"/>
                    <a:gd name="connsiteY0" fmla="*/ 637 h 548324"/>
                    <a:gd name="connsiteX1" fmla="*/ 155066 w 212216"/>
                    <a:gd name="connsiteY1" fmla="*/ 248287 h 548324"/>
                    <a:gd name="connsiteX2" fmla="*/ 212216 w 212216"/>
                    <a:gd name="connsiteY2" fmla="*/ 548324 h 548324"/>
                    <a:gd name="connsiteX3" fmla="*/ 126491 w 212216"/>
                    <a:gd name="connsiteY3" fmla="*/ 326868 h 548324"/>
                    <a:gd name="connsiteX4" fmla="*/ 28860 w 212216"/>
                    <a:gd name="connsiteY4" fmla="*/ 417356 h 548324"/>
                    <a:gd name="connsiteX5" fmla="*/ 5047 w 212216"/>
                    <a:gd name="connsiteY5" fmla="*/ 531656 h 548324"/>
                    <a:gd name="connsiteX6" fmla="*/ 9810 w 212216"/>
                    <a:gd name="connsiteY6" fmla="*/ 410212 h 548324"/>
                    <a:gd name="connsiteX7" fmla="*/ 119348 w 212216"/>
                    <a:gd name="connsiteY7" fmla="*/ 236380 h 548324"/>
                    <a:gd name="connsiteX8" fmla="*/ 190784 w 212216"/>
                    <a:gd name="connsiteY8" fmla="*/ 637 h 548324"/>
                    <a:gd name="connsiteX0" fmla="*/ 190784 w 212216"/>
                    <a:gd name="connsiteY0" fmla="*/ 637 h 548324"/>
                    <a:gd name="connsiteX1" fmla="*/ 155066 w 212216"/>
                    <a:gd name="connsiteY1" fmla="*/ 248287 h 548324"/>
                    <a:gd name="connsiteX2" fmla="*/ 212216 w 212216"/>
                    <a:gd name="connsiteY2" fmla="*/ 548324 h 548324"/>
                    <a:gd name="connsiteX3" fmla="*/ 126491 w 212216"/>
                    <a:gd name="connsiteY3" fmla="*/ 326868 h 548324"/>
                    <a:gd name="connsiteX4" fmla="*/ 28860 w 212216"/>
                    <a:gd name="connsiteY4" fmla="*/ 417356 h 548324"/>
                    <a:gd name="connsiteX5" fmla="*/ 5047 w 212216"/>
                    <a:gd name="connsiteY5" fmla="*/ 531656 h 548324"/>
                    <a:gd name="connsiteX6" fmla="*/ 9810 w 212216"/>
                    <a:gd name="connsiteY6" fmla="*/ 410212 h 548324"/>
                    <a:gd name="connsiteX7" fmla="*/ 119348 w 212216"/>
                    <a:gd name="connsiteY7" fmla="*/ 236380 h 548324"/>
                    <a:gd name="connsiteX8" fmla="*/ 190784 w 212216"/>
                    <a:gd name="connsiteY8" fmla="*/ 637 h 548324"/>
                    <a:gd name="connsiteX0" fmla="*/ 190784 w 212216"/>
                    <a:gd name="connsiteY0" fmla="*/ 637 h 548324"/>
                    <a:gd name="connsiteX1" fmla="*/ 155066 w 212216"/>
                    <a:gd name="connsiteY1" fmla="*/ 248287 h 548324"/>
                    <a:gd name="connsiteX2" fmla="*/ 212216 w 212216"/>
                    <a:gd name="connsiteY2" fmla="*/ 548324 h 548324"/>
                    <a:gd name="connsiteX3" fmla="*/ 126491 w 212216"/>
                    <a:gd name="connsiteY3" fmla="*/ 291149 h 548324"/>
                    <a:gd name="connsiteX4" fmla="*/ 28860 w 212216"/>
                    <a:gd name="connsiteY4" fmla="*/ 417356 h 548324"/>
                    <a:gd name="connsiteX5" fmla="*/ 5047 w 212216"/>
                    <a:gd name="connsiteY5" fmla="*/ 531656 h 548324"/>
                    <a:gd name="connsiteX6" fmla="*/ 9810 w 212216"/>
                    <a:gd name="connsiteY6" fmla="*/ 410212 h 548324"/>
                    <a:gd name="connsiteX7" fmla="*/ 119348 w 212216"/>
                    <a:gd name="connsiteY7" fmla="*/ 236380 h 548324"/>
                    <a:gd name="connsiteX8" fmla="*/ 190784 w 212216"/>
                    <a:gd name="connsiteY8" fmla="*/ 637 h 548324"/>
                    <a:gd name="connsiteX0" fmla="*/ 190784 w 212216"/>
                    <a:gd name="connsiteY0" fmla="*/ 637 h 548324"/>
                    <a:gd name="connsiteX1" fmla="*/ 155066 w 212216"/>
                    <a:gd name="connsiteY1" fmla="*/ 248287 h 548324"/>
                    <a:gd name="connsiteX2" fmla="*/ 212216 w 212216"/>
                    <a:gd name="connsiteY2" fmla="*/ 548324 h 548324"/>
                    <a:gd name="connsiteX3" fmla="*/ 131254 w 212216"/>
                    <a:gd name="connsiteY3" fmla="*/ 286386 h 548324"/>
                    <a:gd name="connsiteX4" fmla="*/ 28860 w 212216"/>
                    <a:gd name="connsiteY4" fmla="*/ 417356 h 548324"/>
                    <a:gd name="connsiteX5" fmla="*/ 5047 w 212216"/>
                    <a:gd name="connsiteY5" fmla="*/ 531656 h 548324"/>
                    <a:gd name="connsiteX6" fmla="*/ 9810 w 212216"/>
                    <a:gd name="connsiteY6" fmla="*/ 410212 h 548324"/>
                    <a:gd name="connsiteX7" fmla="*/ 119348 w 212216"/>
                    <a:gd name="connsiteY7" fmla="*/ 236380 h 548324"/>
                    <a:gd name="connsiteX8" fmla="*/ 190784 w 212216"/>
                    <a:gd name="connsiteY8" fmla="*/ 637 h 548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2216" h="548324">
                      <a:moveTo>
                        <a:pt x="190784" y="637"/>
                      </a:moveTo>
                      <a:cubicBezTo>
                        <a:pt x="222931" y="-11665"/>
                        <a:pt x="151494" y="157006"/>
                        <a:pt x="155066" y="248287"/>
                      </a:cubicBezTo>
                      <a:cubicBezTo>
                        <a:pt x="158638" y="339568"/>
                        <a:pt x="212216" y="527687"/>
                        <a:pt x="212216" y="548324"/>
                      </a:cubicBezTo>
                      <a:cubicBezTo>
                        <a:pt x="183641" y="474505"/>
                        <a:pt x="152288" y="334408"/>
                        <a:pt x="131254" y="286386"/>
                      </a:cubicBezTo>
                      <a:cubicBezTo>
                        <a:pt x="98314" y="324089"/>
                        <a:pt x="49894" y="376478"/>
                        <a:pt x="28860" y="417356"/>
                      </a:cubicBezTo>
                      <a:cubicBezTo>
                        <a:pt x="7826" y="458234"/>
                        <a:pt x="7825" y="533641"/>
                        <a:pt x="5047" y="531656"/>
                      </a:cubicBezTo>
                      <a:cubicBezTo>
                        <a:pt x="6635" y="491175"/>
                        <a:pt x="-10034" y="454265"/>
                        <a:pt x="9810" y="410212"/>
                      </a:cubicBezTo>
                      <a:cubicBezTo>
                        <a:pt x="29654" y="366159"/>
                        <a:pt x="89186" y="304643"/>
                        <a:pt x="119348" y="236380"/>
                      </a:cubicBezTo>
                      <a:cubicBezTo>
                        <a:pt x="149510" y="168118"/>
                        <a:pt x="158637" y="12939"/>
                        <a:pt x="190784" y="637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063">
                    <a:defRPr/>
                  </a:pPr>
                  <a:endParaRPr lang="en-US" sz="1799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7" name="Freeform 26">
                  <a:extLst>
                    <a:ext uri="{FF2B5EF4-FFF2-40B4-BE49-F238E27FC236}">
                      <a16:creationId xmlns:a16="http://schemas.microsoft.com/office/drawing/2014/main" id="{D58596CA-055A-4F40-A86C-F00D8921CFB9}"/>
                    </a:ext>
                  </a:extLst>
                </p:cNvPr>
                <p:cNvSpPr/>
                <p:nvPr/>
              </p:nvSpPr>
              <p:spPr>
                <a:xfrm>
                  <a:off x="196850" y="3063875"/>
                  <a:ext cx="531710" cy="350664"/>
                </a:xfrm>
                <a:custGeom>
                  <a:avLst/>
                  <a:gdLst>
                    <a:gd name="connsiteX0" fmla="*/ 520700 w 531710"/>
                    <a:gd name="connsiteY0" fmla="*/ 317500 h 350664"/>
                    <a:gd name="connsiteX1" fmla="*/ 228600 w 531710"/>
                    <a:gd name="connsiteY1" fmla="*/ 276225 h 350664"/>
                    <a:gd name="connsiteX2" fmla="*/ 0 w 531710"/>
                    <a:gd name="connsiteY2" fmla="*/ 0 h 350664"/>
                    <a:gd name="connsiteX3" fmla="*/ 203200 w 531710"/>
                    <a:gd name="connsiteY3" fmla="*/ 301625 h 350664"/>
                    <a:gd name="connsiteX4" fmla="*/ 444500 w 531710"/>
                    <a:gd name="connsiteY4" fmla="*/ 349250 h 350664"/>
                    <a:gd name="connsiteX5" fmla="*/ 520700 w 531710"/>
                    <a:gd name="connsiteY5" fmla="*/ 317500 h 350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1710" h="350664">
                      <a:moveTo>
                        <a:pt x="520700" y="317500"/>
                      </a:moveTo>
                      <a:cubicBezTo>
                        <a:pt x="484717" y="305329"/>
                        <a:pt x="315383" y="329142"/>
                        <a:pt x="228600" y="276225"/>
                      </a:cubicBezTo>
                      <a:cubicBezTo>
                        <a:pt x="141817" y="223308"/>
                        <a:pt x="38100" y="42333"/>
                        <a:pt x="0" y="0"/>
                      </a:cubicBezTo>
                      <a:cubicBezTo>
                        <a:pt x="67733" y="100542"/>
                        <a:pt x="129117" y="243417"/>
                        <a:pt x="203200" y="301625"/>
                      </a:cubicBezTo>
                      <a:cubicBezTo>
                        <a:pt x="277283" y="359833"/>
                        <a:pt x="391583" y="341312"/>
                        <a:pt x="444500" y="349250"/>
                      </a:cubicBezTo>
                      <a:cubicBezTo>
                        <a:pt x="497417" y="357188"/>
                        <a:pt x="556683" y="329671"/>
                        <a:pt x="520700" y="317500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063">
                    <a:defRPr/>
                  </a:pPr>
                  <a:endParaRPr lang="en-US" sz="1799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27" name="Freeform 28">
                <a:extLst>
                  <a:ext uri="{FF2B5EF4-FFF2-40B4-BE49-F238E27FC236}">
                    <a16:creationId xmlns:a16="http://schemas.microsoft.com/office/drawing/2014/main" id="{27F6EF51-A05F-4BF3-B9CD-0ABADEB3183C}"/>
                  </a:ext>
                </a:extLst>
              </p:cNvPr>
              <p:cNvSpPr/>
              <p:nvPr/>
            </p:nvSpPr>
            <p:spPr>
              <a:xfrm>
                <a:off x="7787869" y="4886195"/>
                <a:ext cx="91418" cy="639984"/>
              </a:xfrm>
              <a:custGeom>
                <a:avLst/>
                <a:gdLst>
                  <a:gd name="connsiteX0" fmla="*/ 285604 w 366692"/>
                  <a:gd name="connsiteY0" fmla="*/ 97928 h 2567072"/>
                  <a:gd name="connsiteX1" fmla="*/ 3664 w 366692"/>
                  <a:gd name="connsiteY1" fmla="*/ 692288 h 2567072"/>
                  <a:gd name="connsiteX2" fmla="*/ 117964 w 366692"/>
                  <a:gd name="connsiteY2" fmla="*/ 1339988 h 2567072"/>
                  <a:gd name="connsiteX3" fmla="*/ 11284 w 366692"/>
                  <a:gd name="connsiteY3" fmla="*/ 1820048 h 2567072"/>
                  <a:gd name="connsiteX4" fmla="*/ 178924 w 366692"/>
                  <a:gd name="connsiteY4" fmla="*/ 2566808 h 2567072"/>
                  <a:gd name="connsiteX5" fmla="*/ 64624 w 366692"/>
                  <a:gd name="connsiteY5" fmla="*/ 1720988 h 2567072"/>
                  <a:gd name="connsiteX6" fmla="*/ 186544 w 366692"/>
                  <a:gd name="connsiteY6" fmla="*/ 1339988 h 2567072"/>
                  <a:gd name="connsiteX7" fmla="*/ 57004 w 366692"/>
                  <a:gd name="connsiteY7" fmla="*/ 669428 h 2567072"/>
                  <a:gd name="connsiteX8" fmla="*/ 354184 w 366692"/>
                  <a:gd name="connsiteY8" fmla="*/ 59828 h 2567072"/>
                  <a:gd name="connsiteX9" fmla="*/ 285604 w 366692"/>
                  <a:gd name="connsiteY9" fmla="*/ 97928 h 2567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6692" h="2567072">
                    <a:moveTo>
                      <a:pt x="285604" y="97928"/>
                    </a:moveTo>
                    <a:cubicBezTo>
                      <a:pt x="227184" y="203338"/>
                      <a:pt x="31604" y="485278"/>
                      <a:pt x="3664" y="692288"/>
                    </a:cubicBezTo>
                    <a:cubicBezTo>
                      <a:pt x="-24276" y="899298"/>
                      <a:pt x="116694" y="1152028"/>
                      <a:pt x="117964" y="1339988"/>
                    </a:cubicBezTo>
                    <a:cubicBezTo>
                      <a:pt x="119234" y="1527948"/>
                      <a:pt x="1124" y="1615578"/>
                      <a:pt x="11284" y="1820048"/>
                    </a:cubicBezTo>
                    <a:cubicBezTo>
                      <a:pt x="11284" y="1820048"/>
                      <a:pt x="170034" y="2583318"/>
                      <a:pt x="178924" y="2566808"/>
                    </a:cubicBezTo>
                    <a:cubicBezTo>
                      <a:pt x="187814" y="2550298"/>
                      <a:pt x="63354" y="1925458"/>
                      <a:pt x="64624" y="1720988"/>
                    </a:cubicBezTo>
                    <a:cubicBezTo>
                      <a:pt x="65894" y="1516518"/>
                      <a:pt x="187814" y="1515248"/>
                      <a:pt x="186544" y="1339988"/>
                    </a:cubicBezTo>
                    <a:cubicBezTo>
                      <a:pt x="185274" y="1164728"/>
                      <a:pt x="29064" y="882788"/>
                      <a:pt x="57004" y="669428"/>
                    </a:cubicBezTo>
                    <a:cubicBezTo>
                      <a:pt x="84944" y="456068"/>
                      <a:pt x="318624" y="158888"/>
                      <a:pt x="354184" y="59828"/>
                    </a:cubicBezTo>
                    <a:cubicBezTo>
                      <a:pt x="389744" y="-39232"/>
                      <a:pt x="344024" y="-7482"/>
                      <a:pt x="285604" y="97928"/>
                    </a:cubicBezTo>
                    <a:close/>
                  </a:path>
                </a:pathLst>
              </a:custGeom>
              <a:solidFill>
                <a:srgbClr val="D44B49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28" name="Freeform 29">
                <a:extLst>
                  <a:ext uri="{FF2B5EF4-FFF2-40B4-BE49-F238E27FC236}">
                    <a16:creationId xmlns:a16="http://schemas.microsoft.com/office/drawing/2014/main" id="{AA2B73B8-0AD4-43F2-94F6-62DB9C540D60}"/>
                  </a:ext>
                </a:extLst>
              </p:cNvPr>
              <p:cNvSpPr/>
              <p:nvPr/>
            </p:nvSpPr>
            <p:spPr>
              <a:xfrm>
                <a:off x="7599128" y="5197287"/>
                <a:ext cx="234459" cy="244923"/>
              </a:xfrm>
              <a:custGeom>
                <a:avLst/>
                <a:gdLst>
                  <a:gd name="connsiteX0" fmla="*/ 895350 w 940449"/>
                  <a:gd name="connsiteY0" fmla="*/ 32472 h 984972"/>
                  <a:gd name="connsiteX1" fmla="*/ 596900 w 940449"/>
                  <a:gd name="connsiteY1" fmla="*/ 489672 h 984972"/>
                  <a:gd name="connsiteX2" fmla="*/ 260350 w 940449"/>
                  <a:gd name="connsiteY2" fmla="*/ 584922 h 984972"/>
                  <a:gd name="connsiteX3" fmla="*/ 0 w 940449"/>
                  <a:gd name="connsiteY3" fmla="*/ 984972 h 984972"/>
                  <a:gd name="connsiteX4" fmla="*/ 222250 w 940449"/>
                  <a:gd name="connsiteY4" fmla="*/ 667472 h 984972"/>
                  <a:gd name="connsiteX5" fmla="*/ 635000 w 940449"/>
                  <a:gd name="connsiteY5" fmla="*/ 553172 h 984972"/>
                  <a:gd name="connsiteX6" fmla="*/ 914400 w 940449"/>
                  <a:gd name="connsiteY6" fmla="*/ 95972 h 984972"/>
                  <a:gd name="connsiteX7" fmla="*/ 895350 w 940449"/>
                  <a:gd name="connsiteY7" fmla="*/ 32472 h 984972"/>
                  <a:gd name="connsiteX0" fmla="*/ 895350 w 940449"/>
                  <a:gd name="connsiteY0" fmla="*/ 29922 h 982422"/>
                  <a:gd name="connsiteX1" fmla="*/ 596900 w 940449"/>
                  <a:gd name="connsiteY1" fmla="*/ 487122 h 982422"/>
                  <a:gd name="connsiteX2" fmla="*/ 260350 w 940449"/>
                  <a:gd name="connsiteY2" fmla="*/ 582372 h 982422"/>
                  <a:gd name="connsiteX3" fmla="*/ 0 w 940449"/>
                  <a:gd name="connsiteY3" fmla="*/ 982422 h 982422"/>
                  <a:gd name="connsiteX4" fmla="*/ 222250 w 940449"/>
                  <a:gd name="connsiteY4" fmla="*/ 664922 h 982422"/>
                  <a:gd name="connsiteX5" fmla="*/ 654050 w 940449"/>
                  <a:gd name="connsiteY5" fmla="*/ 493472 h 982422"/>
                  <a:gd name="connsiteX6" fmla="*/ 914400 w 940449"/>
                  <a:gd name="connsiteY6" fmla="*/ 93422 h 982422"/>
                  <a:gd name="connsiteX7" fmla="*/ 895350 w 940449"/>
                  <a:gd name="connsiteY7" fmla="*/ 29922 h 982422"/>
                  <a:gd name="connsiteX0" fmla="*/ 895350 w 940449"/>
                  <a:gd name="connsiteY0" fmla="*/ 29922 h 982422"/>
                  <a:gd name="connsiteX1" fmla="*/ 596900 w 940449"/>
                  <a:gd name="connsiteY1" fmla="*/ 487122 h 982422"/>
                  <a:gd name="connsiteX2" fmla="*/ 260350 w 940449"/>
                  <a:gd name="connsiteY2" fmla="*/ 582372 h 982422"/>
                  <a:gd name="connsiteX3" fmla="*/ 0 w 940449"/>
                  <a:gd name="connsiteY3" fmla="*/ 982422 h 982422"/>
                  <a:gd name="connsiteX4" fmla="*/ 222250 w 940449"/>
                  <a:gd name="connsiteY4" fmla="*/ 664922 h 982422"/>
                  <a:gd name="connsiteX5" fmla="*/ 654050 w 940449"/>
                  <a:gd name="connsiteY5" fmla="*/ 493472 h 982422"/>
                  <a:gd name="connsiteX6" fmla="*/ 914400 w 940449"/>
                  <a:gd name="connsiteY6" fmla="*/ 93422 h 982422"/>
                  <a:gd name="connsiteX7" fmla="*/ 895350 w 940449"/>
                  <a:gd name="connsiteY7" fmla="*/ 29922 h 982422"/>
                  <a:gd name="connsiteX0" fmla="*/ 895350 w 940449"/>
                  <a:gd name="connsiteY0" fmla="*/ 29922 h 982422"/>
                  <a:gd name="connsiteX1" fmla="*/ 596900 w 940449"/>
                  <a:gd name="connsiteY1" fmla="*/ 487122 h 982422"/>
                  <a:gd name="connsiteX2" fmla="*/ 260350 w 940449"/>
                  <a:gd name="connsiteY2" fmla="*/ 582372 h 982422"/>
                  <a:gd name="connsiteX3" fmla="*/ 0 w 940449"/>
                  <a:gd name="connsiteY3" fmla="*/ 982422 h 982422"/>
                  <a:gd name="connsiteX4" fmla="*/ 222250 w 940449"/>
                  <a:gd name="connsiteY4" fmla="*/ 664922 h 982422"/>
                  <a:gd name="connsiteX5" fmla="*/ 654050 w 940449"/>
                  <a:gd name="connsiteY5" fmla="*/ 493472 h 982422"/>
                  <a:gd name="connsiteX6" fmla="*/ 914400 w 940449"/>
                  <a:gd name="connsiteY6" fmla="*/ 93422 h 982422"/>
                  <a:gd name="connsiteX7" fmla="*/ 895350 w 940449"/>
                  <a:gd name="connsiteY7" fmla="*/ 29922 h 982422"/>
                  <a:gd name="connsiteX0" fmla="*/ 895350 w 940449"/>
                  <a:gd name="connsiteY0" fmla="*/ 29922 h 982422"/>
                  <a:gd name="connsiteX1" fmla="*/ 596900 w 940449"/>
                  <a:gd name="connsiteY1" fmla="*/ 487122 h 982422"/>
                  <a:gd name="connsiteX2" fmla="*/ 260350 w 940449"/>
                  <a:gd name="connsiteY2" fmla="*/ 582372 h 982422"/>
                  <a:gd name="connsiteX3" fmla="*/ 0 w 940449"/>
                  <a:gd name="connsiteY3" fmla="*/ 982422 h 982422"/>
                  <a:gd name="connsiteX4" fmla="*/ 222250 w 940449"/>
                  <a:gd name="connsiteY4" fmla="*/ 664922 h 982422"/>
                  <a:gd name="connsiteX5" fmla="*/ 654050 w 940449"/>
                  <a:gd name="connsiteY5" fmla="*/ 493472 h 982422"/>
                  <a:gd name="connsiteX6" fmla="*/ 914400 w 940449"/>
                  <a:gd name="connsiteY6" fmla="*/ 93422 h 982422"/>
                  <a:gd name="connsiteX7" fmla="*/ 895350 w 940449"/>
                  <a:gd name="connsiteY7" fmla="*/ 29922 h 982422"/>
                  <a:gd name="connsiteX0" fmla="*/ 895350 w 940449"/>
                  <a:gd name="connsiteY0" fmla="*/ 29922 h 982422"/>
                  <a:gd name="connsiteX1" fmla="*/ 641350 w 940449"/>
                  <a:gd name="connsiteY1" fmla="*/ 468072 h 982422"/>
                  <a:gd name="connsiteX2" fmla="*/ 260350 w 940449"/>
                  <a:gd name="connsiteY2" fmla="*/ 582372 h 982422"/>
                  <a:gd name="connsiteX3" fmla="*/ 0 w 940449"/>
                  <a:gd name="connsiteY3" fmla="*/ 982422 h 982422"/>
                  <a:gd name="connsiteX4" fmla="*/ 222250 w 940449"/>
                  <a:gd name="connsiteY4" fmla="*/ 664922 h 982422"/>
                  <a:gd name="connsiteX5" fmla="*/ 654050 w 940449"/>
                  <a:gd name="connsiteY5" fmla="*/ 493472 h 982422"/>
                  <a:gd name="connsiteX6" fmla="*/ 914400 w 940449"/>
                  <a:gd name="connsiteY6" fmla="*/ 93422 h 982422"/>
                  <a:gd name="connsiteX7" fmla="*/ 895350 w 940449"/>
                  <a:gd name="connsiteY7" fmla="*/ 29922 h 982422"/>
                  <a:gd name="connsiteX0" fmla="*/ 895350 w 940449"/>
                  <a:gd name="connsiteY0" fmla="*/ 29922 h 982422"/>
                  <a:gd name="connsiteX1" fmla="*/ 641350 w 940449"/>
                  <a:gd name="connsiteY1" fmla="*/ 468072 h 982422"/>
                  <a:gd name="connsiteX2" fmla="*/ 260350 w 940449"/>
                  <a:gd name="connsiteY2" fmla="*/ 582372 h 982422"/>
                  <a:gd name="connsiteX3" fmla="*/ 0 w 940449"/>
                  <a:gd name="connsiteY3" fmla="*/ 982422 h 982422"/>
                  <a:gd name="connsiteX4" fmla="*/ 266700 w 940449"/>
                  <a:gd name="connsiteY4" fmla="*/ 620472 h 982422"/>
                  <a:gd name="connsiteX5" fmla="*/ 654050 w 940449"/>
                  <a:gd name="connsiteY5" fmla="*/ 493472 h 982422"/>
                  <a:gd name="connsiteX6" fmla="*/ 914400 w 940449"/>
                  <a:gd name="connsiteY6" fmla="*/ 93422 h 982422"/>
                  <a:gd name="connsiteX7" fmla="*/ 895350 w 940449"/>
                  <a:gd name="connsiteY7" fmla="*/ 29922 h 982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0449" h="982422">
                    <a:moveTo>
                      <a:pt x="895350" y="29922"/>
                    </a:moveTo>
                    <a:cubicBezTo>
                      <a:pt x="817033" y="184439"/>
                      <a:pt x="747183" y="375997"/>
                      <a:pt x="641350" y="468072"/>
                    </a:cubicBezTo>
                    <a:cubicBezTo>
                      <a:pt x="535517" y="560147"/>
                      <a:pt x="367242" y="496647"/>
                      <a:pt x="260350" y="582372"/>
                    </a:cubicBezTo>
                    <a:cubicBezTo>
                      <a:pt x="153458" y="668097"/>
                      <a:pt x="80433" y="823672"/>
                      <a:pt x="0" y="982422"/>
                    </a:cubicBezTo>
                    <a:cubicBezTo>
                      <a:pt x="74083" y="876589"/>
                      <a:pt x="157692" y="701964"/>
                      <a:pt x="266700" y="620472"/>
                    </a:cubicBezTo>
                    <a:cubicBezTo>
                      <a:pt x="375708" y="538980"/>
                      <a:pt x="538692" y="588722"/>
                      <a:pt x="654050" y="493472"/>
                    </a:cubicBezTo>
                    <a:cubicBezTo>
                      <a:pt x="769408" y="398222"/>
                      <a:pt x="874183" y="170680"/>
                      <a:pt x="914400" y="93422"/>
                    </a:cubicBezTo>
                    <a:cubicBezTo>
                      <a:pt x="954617" y="16164"/>
                      <a:pt x="948267" y="-35695"/>
                      <a:pt x="895350" y="29922"/>
                    </a:cubicBezTo>
                    <a:close/>
                  </a:path>
                </a:pathLst>
              </a:custGeom>
              <a:solidFill>
                <a:srgbClr val="D44B49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0A5D2BBF-F22C-43F1-A073-24E60B5BB3B2}"/>
                  </a:ext>
                </a:extLst>
              </p:cNvPr>
              <p:cNvSpPr/>
              <p:nvPr/>
            </p:nvSpPr>
            <p:spPr>
              <a:xfrm>
                <a:off x="7700446" y="5324184"/>
                <a:ext cx="72848" cy="200346"/>
              </a:xfrm>
              <a:custGeom>
                <a:avLst/>
                <a:gdLst>
                  <a:gd name="connsiteX0" fmla="*/ 171450 w 292133"/>
                  <a:gd name="connsiteY0" fmla="*/ 4709 h 792109"/>
                  <a:gd name="connsiteX1" fmla="*/ 292100 w 292133"/>
                  <a:gd name="connsiteY1" fmla="*/ 392059 h 792109"/>
                  <a:gd name="connsiteX2" fmla="*/ 184150 w 292133"/>
                  <a:gd name="connsiteY2" fmla="*/ 792109 h 792109"/>
                  <a:gd name="connsiteX3" fmla="*/ 260350 w 292133"/>
                  <a:gd name="connsiteY3" fmla="*/ 411109 h 792109"/>
                  <a:gd name="connsiteX4" fmla="*/ 209550 w 292133"/>
                  <a:gd name="connsiteY4" fmla="*/ 220609 h 792109"/>
                  <a:gd name="connsiteX5" fmla="*/ 0 w 292133"/>
                  <a:gd name="connsiteY5" fmla="*/ 449209 h 792109"/>
                  <a:gd name="connsiteX6" fmla="*/ 107950 w 292133"/>
                  <a:gd name="connsiteY6" fmla="*/ 265059 h 792109"/>
                  <a:gd name="connsiteX7" fmla="*/ 203200 w 292133"/>
                  <a:gd name="connsiteY7" fmla="*/ 182509 h 792109"/>
                  <a:gd name="connsiteX8" fmla="*/ 171450 w 292133"/>
                  <a:gd name="connsiteY8" fmla="*/ 4709 h 792109"/>
                  <a:gd name="connsiteX0" fmla="*/ 171450 w 292133"/>
                  <a:gd name="connsiteY0" fmla="*/ 4709 h 792109"/>
                  <a:gd name="connsiteX1" fmla="*/ 292100 w 292133"/>
                  <a:gd name="connsiteY1" fmla="*/ 392059 h 792109"/>
                  <a:gd name="connsiteX2" fmla="*/ 184150 w 292133"/>
                  <a:gd name="connsiteY2" fmla="*/ 792109 h 792109"/>
                  <a:gd name="connsiteX3" fmla="*/ 260350 w 292133"/>
                  <a:gd name="connsiteY3" fmla="*/ 411109 h 792109"/>
                  <a:gd name="connsiteX4" fmla="*/ 209550 w 292133"/>
                  <a:gd name="connsiteY4" fmla="*/ 220609 h 792109"/>
                  <a:gd name="connsiteX5" fmla="*/ 0 w 292133"/>
                  <a:gd name="connsiteY5" fmla="*/ 449209 h 792109"/>
                  <a:gd name="connsiteX6" fmla="*/ 107950 w 292133"/>
                  <a:gd name="connsiteY6" fmla="*/ 265059 h 792109"/>
                  <a:gd name="connsiteX7" fmla="*/ 203200 w 292133"/>
                  <a:gd name="connsiteY7" fmla="*/ 182509 h 792109"/>
                  <a:gd name="connsiteX8" fmla="*/ 171450 w 292133"/>
                  <a:gd name="connsiteY8" fmla="*/ 4709 h 792109"/>
                  <a:gd name="connsiteX0" fmla="*/ 171450 w 292133"/>
                  <a:gd name="connsiteY0" fmla="*/ 4709 h 792109"/>
                  <a:gd name="connsiteX1" fmla="*/ 292100 w 292133"/>
                  <a:gd name="connsiteY1" fmla="*/ 392059 h 792109"/>
                  <a:gd name="connsiteX2" fmla="*/ 184150 w 292133"/>
                  <a:gd name="connsiteY2" fmla="*/ 792109 h 792109"/>
                  <a:gd name="connsiteX3" fmla="*/ 260350 w 292133"/>
                  <a:gd name="connsiteY3" fmla="*/ 411109 h 792109"/>
                  <a:gd name="connsiteX4" fmla="*/ 209550 w 292133"/>
                  <a:gd name="connsiteY4" fmla="*/ 220609 h 792109"/>
                  <a:gd name="connsiteX5" fmla="*/ 0 w 292133"/>
                  <a:gd name="connsiteY5" fmla="*/ 449209 h 792109"/>
                  <a:gd name="connsiteX6" fmla="*/ 107950 w 292133"/>
                  <a:gd name="connsiteY6" fmla="*/ 265059 h 792109"/>
                  <a:gd name="connsiteX7" fmla="*/ 203200 w 292133"/>
                  <a:gd name="connsiteY7" fmla="*/ 182509 h 792109"/>
                  <a:gd name="connsiteX8" fmla="*/ 171450 w 292133"/>
                  <a:gd name="connsiteY8" fmla="*/ 4709 h 792109"/>
                  <a:gd name="connsiteX0" fmla="*/ 171450 w 292133"/>
                  <a:gd name="connsiteY0" fmla="*/ 4709 h 792109"/>
                  <a:gd name="connsiteX1" fmla="*/ 292100 w 292133"/>
                  <a:gd name="connsiteY1" fmla="*/ 392059 h 792109"/>
                  <a:gd name="connsiteX2" fmla="*/ 184150 w 292133"/>
                  <a:gd name="connsiteY2" fmla="*/ 792109 h 792109"/>
                  <a:gd name="connsiteX3" fmla="*/ 260350 w 292133"/>
                  <a:gd name="connsiteY3" fmla="*/ 411109 h 792109"/>
                  <a:gd name="connsiteX4" fmla="*/ 209550 w 292133"/>
                  <a:gd name="connsiteY4" fmla="*/ 220609 h 792109"/>
                  <a:gd name="connsiteX5" fmla="*/ 0 w 292133"/>
                  <a:gd name="connsiteY5" fmla="*/ 449209 h 792109"/>
                  <a:gd name="connsiteX6" fmla="*/ 107950 w 292133"/>
                  <a:gd name="connsiteY6" fmla="*/ 265059 h 792109"/>
                  <a:gd name="connsiteX7" fmla="*/ 203200 w 292133"/>
                  <a:gd name="connsiteY7" fmla="*/ 182509 h 792109"/>
                  <a:gd name="connsiteX8" fmla="*/ 171450 w 292133"/>
                  <a:gd name="connsiteY8" fmla="*/ 4709 h 792109"/>
                  <a:gd name="connsiteX0" fmla="*/ 171450 w 292133"/>
                  <a:gd name="connsiteY0" fmla="*/ 4709 h 792109"/>
                  <a:gd name="connsiteX1" fmla="*/ 292100 w 292133"/>
                  <a:gd name="connsiteY1" fmla="*/ 392059 h 792109"/>
                  <a:gd name="connsiteX2" fmla="*/ 184150 w 292133"/>
                  <a:gd name="connsiteY2" fmla="*/ 792109 h 792109"/>
                  <a:gd name="connsiteX3" fmla="*/ 267493 w 292133"/>
                  <a:gd name="connsiteY3" fmla="*/ 384915 h 792109"/>
                  <a:gd name="connsiteX4" fmla="*/ 209550 w 292133"/>
                  <a:gd name="connsiteY4" fmla="*/ 220609 h 792109"/>
                  <a:gd name="connsiteX5" fmla="*/ 0 w 292133"/>
                  <a:gd name="connsiteY5" fmla="*/ 449209 h 792109"/>
                  <a:gd name="connsiteX6" fmla="*/ 107950 w 292133"/>
                  <a:gd name="connsiteY6" fmla="*/ 265059 h 792109"/>
                  <a:gd name="connsiteX7" fmla="*/ 203200 w 292133"/>
                  <a:gd name="connsiteY7" fmla="*/ 182509 h 792109"/>
                  <a:gd name="connsiteX8" fmla="*/ 171450 w 292133"/>
                  <a:gd name="connsiteY8" fmla="*/ 4709 h 792109"/>
                  <a:gd name="connsiteX0" fmla="*/ 171450 w 292133"/>
                  <a:gd name="connsiteY0" fmla="*/ 4709 h 792109"/>
                  <a:gd name="connsiteX1" fmla="*/ 292100 w 292133"/>
                  <a:gd name="connsiteY1" fmla="*/ 392059 h 792109"/>
                  <a:gd name="connsiteX2" fmla="*/ 184150 w 292133"/>
                  <a:gd name="connsiteY2" fmla="*/ 792109 h 792109"/>
                  <a:gd name="connsiteX3" fmla="*/ 267493 w 292133"/>
                  <a:gd name="connsiteY3" fmla="*/ 384915 h 792109"/>
                  <a:gd name="connsiteX4" fmla="*/ 209550 w 292133"/>
                  <a:gd name="connsiteY4" fmla="*/ 220609 h 792109"/>
                  <a:gd name="connsiteX5" fmla="*/ 121444 w 292133"/>
                  <a:gd name="connsiteY5" fmla="*/ 284109 h 792109"/>
                  <a:gd name="connsiteX6" fmla="*/ 0 w 292133"/>
                  <a:gd name="connsiteY6" fmla="*/ 449209 h 792109"/>
                  <a:gd name="connsiteX7" fmla="*/ 107950 w 292133"/>
                  <a:gd name="connsiteY7" fmla="*/ 265059 h 792109"/>
                  <a:gd name="connsiteX8" fmla="*/ 203200 w 292133"/>
                  <a:gd name="connsiteY8" fmla="*/ 182509 h 792109"/>
                  <a:gd name="connsiteX9" fmla="*/ 171450 w 292133"/>
                  <a:gd name="connsiteY9" fmla="*/ 4709 h 792109"/>
                  <a:gd name="connsiteX0" fmla="*/ 171450 w 292133"/>
                  <a:gd name="connsiteY0" fmla="*/ 292 h 787692"/>
                  <a:gd name="connsiteX1" fmla="*/ 292100 w 292133"/>
                  <a:gd name="connsiteY1" fmla="*/ 387642 h 787692"/>
                  <a:gd name="connsiteX2" fmla="*/ 184150 w 292133"/>
                  <a:gd name="connsiteY2" fmla="*/ 787692 h 787692"/>
                  <a:gd name="connsiteX3" fmla="*/ 267493 w 292133"/>
                  <a:gd name="connsiteY3" fmla="*/ 380498 h 787692"/>
                  <a:gd name="connsiteX4" fmla="*/ 209550 w 292133"/>
                  <a:gd name="connsiteY4" fmla="*/ 216192 h 787692"/>
                  <a:gd name="connsiteX5" fmla="*/ 121444 w 292133"/>
                  <a:gd name="connsiteY5" fmla="*/ 279692 h 787692"/>
                  <a:gd name="connsiteX6" fmla="*/ 0 w 292133"/>
                  <a:gd name="connsiteY6" fmla="*/ 444792 h 787692"/>
                  <a:gd name="connsiteX7" fmla="*/ 107950 w 292133"/>
                  <a:gd name="connsiteY7" fmla="*/ 260642 h 787692"/>
                  <a:gd name="connsiteX8" fmla="*/ 203200 w 292133"/>
                  <a:gd name="connsiteY8" fmla="*/ 178092 h 787692"/>
                  <a:gd name="connsiteX9" fmla="*/ 171450 w 292133"/>
                  <a:gd name="connsiteY9" fmla="*/ 292 h 787692"/>
                  <a:gd name="connsiteX0" fmla="*/ 171450 w 292221"/>
                  <a:gd name="connsiteY0" fmla="*/ 44268 h 831668"/>
                  <a:gd name="connsiteX1" fmla="*/ 204788 w 292221"/>
                  <a:gd name="connsiteY1" fmla="*/ 33155 h 831668"/>
                  <a:gd name="connsiteX2" fmla="*/ 292100 w 292221"/>
                  <a:gd name="connsiteY2" fmla="*/ 431618 h 831668"/>
                  <a:gd name="connsiteX3" fmla="*/ 184150 w 292221"/>
                  <a:gd name="connsiteY3" fmla="*/ 831668 h 831668"/>
                  <a:gd name="connsiteX4" fmla="*/ 267493 w 292221"/>
                  <a:gd name="connsiteY4" fmla="*/ 424474 h 831668"/>
                  <a:gd name="connsiteX5" fmla="*/ 209550 w 292221"/>
                  <a:gd name="connsiteY5" fmla="*/ 260168 h 831668"/>
                  <a:gd name="connsiteX6" fmla="*/ 121444 w 292221"/>
                  <a:gd name="connsiteY6" fmla="*/ 323668 h 831668"/>
                  <a:gd name="connsiteX7" fmla="*/ 0 w 292221"/>
                  <a:gd name="connsiteY7" fmla="*/ 488768 h 831668"/>
                  <a:gd name="connsiteX8" fmla="*/ 107950 w 292221"/>
                  <a:gd name="connsiteY8" fmla="*/ 304618 h 831668"/>
                  <a:gd name="connsiteX9" fmla="*/ 203200 w 292221"/>
                  <a:gd name="connsiteY9" fmla="*/ 222068 h 831668"/>
                  <a:gd name="connsiteX10" fmla="*/ 171450 w 292221"/>
                  <a:gd name="connsiteY10" fmla="*/ 44268 h 831668"/>
                  <a:gd name="connsiteX0" fmla="*/ 169069 w 292221"/>
                  <a:gd name="connsiteY0" fmla="*/ 44268 h 831668"/>
                  <a:gd name="connsiteX1" fmla="*/ 204788 w 292221"/>
                  <a:gd name="connsiteY1" fmla="*/ 33155 h 831668"/>
                  <a:gd name="connsiteX2" fmla="*/ 292100 w 292221"/>
                  <a:gd name="connsiteY2" fmla="*/ 431618 h 831668"/>
                  <a:gd name="connsiteX3" fmla="*/ 184150 w 292221"/>
                  <a:gd name="connsiteY3" fmla="*/ 831668 h 831668"/>
                  <a:gd name="connsiteX4" fmla="*/ 267493 w 292221"/>
                  <a:gd name="connsiteY4" fmla="*/ 424474 h 831668"/>
                  <a:gd name="connsiteX5" fmla="*/ 209550 w 292221"/>
                  <a:gd name="connsiteY5" fmla="*/ 260168 h 831668"/>
                  <a:gd name="connsiteX6" fmla="*/ 121444 w 292221"/>
                  <a:gd name="connsiteY6" fmla="*/ 323668 h 831668"/>
                  <a:gd name="connsiteX7" fmla="*/ 0 w 292221"/>
                  <a:gd name="connsiteY7" fmla="*/ 488768 h 831668"/>
                  <a:gd name="connsiteX8" fmla="*/ 107950 w 292221"/>
                  <a:gd name="connsiteY8" fmla="*/ 304618 h 831668"/>
                  <a:gd name="connsiteX9" fmla="*/ 203200 w 292221"/>
                  <a:gd name="connsiteY9" fmla="*/ 222068 h 831668"/>
                  <a:gd name="connsiteX10" fmla="*/ 169069 w 292221"/>
                  <a:gd name="connsiteY10" fmla="*/ 44268 h 831668"/>
                  <a:gd name="connsiteX0" fmla="*/ 169069 w 292221"/>
                  <a:gd name="connsiteY0" fmla="*/ 44268 h 831668"/>
                  <a:gd name="connsiteX1" fmla="*/ 204788 w 292221"/>
                  <a:gd name="connsiteY1" fmla="*/ 33155 h 831668"/>
                  <a:gd name="connsiteX2" fmla="*/ 292100 w 292221"/>
                  <a:gd name="connsiteY2" fmla="*/ 431618 h 831668"/>
                  <a:gd name="connsiteX3" fmla="*/ 184150 w 292221"/>
                  <a:gd name="connsiteY3" fmla="*/ 831668 h 831668"/>
                  <a:gd name="connsiteX4" fmla="*/ 267493 w 292221"/>
                  <a:gd name="connsiteY4" fmla="*/ 424474 h 831668"/>
                  <a:gd name="connsiteX5" fmla="*/ 209550 w 292221"/>
                  <a:gd name="connsiteY5" fmla="*/ 260168 h 831668"/>
                  <a:gd name="connsiteX6" fmla="*/ 121444 w 292221"/>
                  <a:gd name="connsiteY6" fmla="*/ 323668 h 831668"/>
                  <a:gd name="connsiteX7" fmla="*/ 0 w 292221"/>
                  <a:gd name="connsiteY7" fmla="*/ 488768 h 831668"/>
                  <a:gd name="connsiteX8" fmla="*/ 107950 w 292221"/>
                  <a:gd name="connsiteY8" fmla="*/ 304618 h 831668"/>
                  <a:gd name="connsiteX9" fmla="*/ 203200 w 292221"/>
                  <a:gd name="connsiteY9" fmla="*/ 222068 h 831668"/>
                  <a:gd name="connsiteX10" fmla="*/ 169069 w 292221"/>
                  <a:gd name="connsiteY10" fmla="*/ 44268 h 831668"/>
                  <a:gd name="connsiteX0" fmla="*/ 169069 w 292221"/>
                  <a:gd name="connsiteY0" fmla="*/ 44268 h 831668"/>
                  <a:gd name="connsiteX1" fmla="*/ 204788 w 292221"/>
                  <a:gd name="connsiteY1" fmla="*/ 33155 h 831668"/>
                  <a:gd name="connsiteX2" fmla="*/ 292100 w 292221"/>
                  <a:gd name="connsiteY2" fmla="*/ 431618 h 831668"/>
                  <a:gd name="connsiteX3" fmla="*/ 184150 w 292221"/>
                  <a:gd name="connsiteY3" fmla="*/ 831668 h 831668"/>
                  <a:gd name="connsiteX4" fmla="*/ 267493 w 292221"/>
                  <a:gd name="connsiteY4" fmla="*/ 424474 h 831668"/>
                  <a:gd name="connsiteX5" fmla="*/ 209550 w 292221"/>
                  <a:gd name="connsiteY5" fmla="*/ 260168 h 831668"/>
                  <a:gd name="connsiteX6" fmla="*/ 121444 w 292221"/>
                  <a:gd name="connsiteY6" fmla="*/ 323668 h 831668"/>
                  <a:gd name="connsiteX7" fmla="*/ 0 w 292221"/>
                  <a:gd name="connsiteY7" fmla="*/ 488768 h 831668"/>
                  <a:gd name="connsiteX8" fmla="*/ 107950 w 292221"/>
                  <a:gd name="connsiteY8" fmla="*/ 304618 h 831668"/>
                  <a:gd name="connsiteX9" fmla="*/ 203200 w 292221"/>
                  <a:gd name="connsiteY9" fmla="*/ 222068 h 831668"/>
                  <a:gd name="connsiteX10" fmla="*/ 169069 w 292221"/>
                  <a:gd name="connsiteY10" fmla="*/ 44268 h 831668"/>
                  <a:gd name="connsiteX0" fmla="*/ 169069 w 292421"/>
                  <a:gd name="connsiteY0" fmla="*/ 16219 h 803619"/>
                  <a:gd name="connsiteX1" fmla="*/ 204788 w 292421"/>
                  <a:gd name="connsiteY1" fmla="*/ 5106 h 803619"/>
                  <a:gd name="connsiteX2" fmla="*/ 292100 w 292421"/>
                  <a:gd name="connsiteY2" fmla="*/ 403569 h 803619"/>
                  <a:gd name="connsiteX3" fmla="*/ 184150 w 292421"/>
                  <a:gd name="connsiteY3" fmla="*/ 803619 h 803619"/>
                  <a:gd name="connsiteX4" fmla="*/ 267493 w 292421"/>
                  <a:gd name="connsiteY4" fmla="*/ 396425 h 803619"/>
                  <a:gd name="connsiteX5" fmla="*/ 209550 w 292421"/>
                  <a:gd name="connsiteY5" fmla="*/ 232119 h 803619"/>
                  <a:gd name="connsiteX6" fmla="*/ 121444 w 292421"/>
                  <a:gd name="connsiteY6" fmla="*/ 295619 h 803619"/>
                  <a:gd name="connsiteX7" fmla="*/ 0 w 292421"/>
                  <a:gd name="connsiteY7" fmla="*/ 460719 h 803619"/>
                  <a:gd name="connsiteX8" fmla="*/ 107950 w 292421"/>
                  <a:gd name="connsiteY8" fmla="*/ 276569 h 803619"/>
                  <a:gd name="connsiteX9" fmla="*/ 203200 w 292421"/>
                  <a:gd name="connsiteY9" fmla="*/ 194019 h 803619"/>
                  <a:gd name="connsiteX10" fmla="*/ 169069 w 292421"/>
                  <a:gd name="connsiteY10" fmla="*/ 16219 h 803619"/>
                  <a:gd name="connsiteX0" fmla="*/ 169069 w 292421"/>
                  <a:gd name="connsiteY0" fmla="*/ 16219 h 803619"/>
                  <a:gd name="connsiteX1" fmla="*/ 204788 w 292421"/>
                  <a:gd name="connsiteY1" fmla="*/ 5106 h 803619"/>
                  <a:gd name="connsiteX2" fmla="*/ 292100 w 292421"/>
                  <a:gd name="connsiteY2" fmla="*/ 403569 h 803619"/>
                  <a:gd name="connsiteX3" fmla="*/ 184150 w 292421"/>
                  <a:gd name="connsiteY3" fmla="*/ 803619 h 803619"/>
                  <a:gd name="connsiteX4" fmla="*/ 267493 w 292421"/>
                  <a:gd name="connsiteY4" fmla="*/ 396425 h 803619"/>
                  <a:gd name="connsiteX5" fmla="*/ 209550 w 292421"/>
                  <a:gd name="connsiteY5" fmla="*/ 232119 h 803619"/>
                  <a:gd name="connsiteX6" fmla="*/ 121444 w 292421"/>
                  <a:gd name="connsiteY6" fmla="*/ 295619 h 803619"/>
                  <a:gd name="connsiteX7" fmla="*/ 0 w 292421"/>
                  <a:gd name="connsiteY7" fmla="*/ 460719 h 803619"/>
                  <a:gd name="connsiteX8" fmla="*/ 107950 w 292421"/>
                  <a:gd name="connsiteY8" fmla="*/ 276569 h 803619"/>
                  <a:gd name="connsiteX9" fmla="*/ 203200 w 292421"/>
                  <a:gd name="connsiteY9" fmla="*/ 194019 h 803619"/>
                  <a:gd name="connsiteX10" fmla="*/ 169069 w 292421"/>
                  <a:gd name="connsiteY10" fmla="*/ 16219 h 803619"/>
                  <a:gd name="connsiteX0" fmla="*/ 169069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09550 w 292206"/>
                  <a:gd name="connsiteY5" fmla="*/ 232119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03200 w 292206"/>
                  <a:gd name="connsiteY9" fmla="*/ 194019 h 803619"/>
                  <a:gd name="connsiteX10" fmla="*/ 169069 w 292206"/>
                  <a:gd name="connsiteY10" fmla="*/ 16219 h 803619"/>
                  <a:gd name="connsiteX0" fmla="*/ 169069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09550 w 292206"/>
                  <a:gd name="connsiteY5" fmla="*/ 232119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69069 w 292206"/>
                  <a:gd name="connsiteY10" fmla="*/ 16219 h 803619"/>
                  <a:gd name="connsiteX0" fmla="*/ 183356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09550 w 292206"/>
                  <a:gd name="connsiteY5" fmla="*/ 232119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83356 w 292206"/>
                  <a:gd name="connsiteY10" fmla="*/ 16219 h 803619"/>
                  <a:gd name="connsiteX0" fmla="*/ 183356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09550 w 292206"/>
                  <a:gd name="connsiteY5" fmla="*/ 232119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83356 w 292206"/>
                  <a:gd name="connsiteY10" fmla="*/ 16219 h 803619"/>
                  <a:gd name="connsiteX0" fmla="*/ 183356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26219 w 292206"/>
                  <a:gd name="connsiteY5" fmla="*/ 215451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83356 w 292206"/>
                  <a:gd name="connsiteY10" fmla="*/ 16219 h 803619"/>
                  <a:gd name="connsiteX0" fmla="*/ 183356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26219 w 292206"/>
                  <a:gd name="connsiteY5" fmla="*/ 215451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83356 w 292206"/>
                  <a:gd name="connsiteY10" fmla="*/ 16219 h 803619"/>
                  <a:gd name="connsiteX0" fmla="*/ 183356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26219 w 292206"/>
                  <a:gd name="connsiteY5" fmla="*/ 215451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83356 w 292206"/>
                  <a:gd name="connsiteY10" fmla="*/ 16219 h 803619"/>
                  <a:gd name="connsiteX0" fmla="*/ 183356 w 292206"/>
                  <a:gd name="connsiteY0" fmla="*/ 16219 h 803619"/>
                  <a:gd name="connsiteX1" fmla="*/ 204788 w 292206"/>
                  <a:gd name="connsiteY1" fmla="*/ 5106 h 803619"/>
                  <a:gd name="connsiteX2" fmla="*/ 292100 w 292206"/>
                  <a:gd name="connsiteY2" fmla="*/ 403569 h 803619"/>
                  <a:gd name="connsiteX3" fmla="*/ 184150 w 292206"/>
                  <a:gd name="connsiteY3" fmla="*/ 803619 h 803619"/>
                  <a:gd name="connsiteX4" fmla="*/ 267493 w 292206"/>
                  <a:gd name="connsiteY4" fmla="*/ 396425 h 803619"/>
                  <a:gd name="connsiteX5" fmla="*/ 226219 w 292206"/>
                  <a:gd name="connsiteY5" fmla="*/ 208307 h 803619"/>
                  <a:gd name="connsiteX6" fmla="*/ 121444 w 292206"/>
                  <a:gd name="connsiteY6" fmla="*/ 295619 h 803619"/>
                  <a:gd name="connsiteX7" fmla="*/ 0 w 292206"/>
                  <a:gd name="connsiteY7" fmla="*/ 460719 h 803619"/>
                  <a:gd name="connsiteX8" fmla="*/ 107950 w 292206"/>
                  <a:gd name="connsiteY8" fmla="*/ 276569 h 803619"/>
                  <a:gd name="connsiteX9" fmla="*/ 215107 w 292206"/>
                  <a:gd name="connsiteY9" fmla="*/ 158300 h 803619"/>
                  <a:gd name="connsiteX10" fmla="*/ 183356 w 292206"/>
                  <a:gd name="connsiteY10" fmla="*/ 16219 h 803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206" h="803619">
                    <a:moveTo>
                      <a:pt x="183356" y="16219"/>
                    </a:moveTo>
                    <a:cubicBezTo>
                      <a:pt x="183621" y="-15266"/>
                      <a:pt x="172774" y="9605"/>
                      <a:pt x="204788" y="5106"/>
                    </a:cubicBezTo>
                    <a:cubicBezTo>
                      <a:pt x="214597" y="79040"/>
                      <a:pt x="295540" y="270484"/>
                      <a:pt x="292100" y="403569"/>
                    </a:cubicBezTo>
                    <a:cubicBezTo>
                      <a:pt x="288660" y="536654"/>
                      <a:pt x="195792" y="775044"/>
                      <a:pt x="184150" y="803619"/>
                    </a:cubicBezTo>
                    <a:cubicBezTo>
                      <a:pt x="209550" y="676619"/>
                      <a:pt x="260482" y="495644"/>
                      <a:pt x="267493" y="396425"/>
                    </a:cubicBezTo>
                    <a:cubicBezTo>
                      <a:pt x="274505" y="297206"/>
                      <a:pt x="237464" y="255270"/>
                      <a:pt x="226219" y="208307"/>
                    </a:cubicBezTo>
                    <a:cubicBezTo>
                      <a:pt x="200687" y="228019"/>
                      <a:pt x="156369" y="257519"/>
                      <a:pt x="121444" y="295619"/>
                    </a:cubicBezTo>
                    <a:cubicBezTo>
                      <a:pt x="86519" y="333719"/>
                      <a:pt x="3440" y="464688"/>
                      <a:pt x="0" y="460719"/>
                    </a:cubicBezTo>
                    <a:cubicBezTo>
                      <a:pt x="35983" y="399336"/>
                      <a:pt x="74083" y="321019"/>
                      <a:pt x="107950" y="276569"/>
                    </a:cubicBezTo>
                    <a:cubicBezTo>
                      <a:pt x="141817" y="232119"/>
                      <a:pt x="202539" y="201692"/>
                      <a:pt x="215107" y="158300"/>
                    </a:cubicBezTo>
                    <a:cubicBezTo>
                      <a:pt x="227675" y="114908"/>
                      <a:pt x="183091" y="47704"/>
                      <a:pt x="183356" y="16219"/>
                    </a:cubicBezTo>
                    <a:close/>
                  </a:path>
                </a:pathLst>
              </a:custGeom>
              <a:solidFill>
                <a:srgbClr val="D44B49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31" name="Freeform 2047">
                <a:extLst>
                  <a:ext uri="{FF2B5EF4-FFF2-40B4-BE49-F238E27FC236}">
                    <a16:creationId xmlns:a16="http://schemas.microsoft.com/office/drawing/2014/main" id="{D944D540-3B6E-43EA-9495-5F6123E10616}"/>
                  </a:ext>
                </a:extLst>
              </p:cNvPr>
              <p:cNvSpPr/>
              <p:nvPr/>
            </p:nvSpPr>
            <p:spPr>
              <a:xfrm>
                <a:off x="7795371" y="5064529"/>
                <a:ext cx="278741" cy="384099"/>
              </a:xfrm>
              <a:custGeom>
                <a:avLst/>
                <a:gdLst>
                  <a:gd name="connsiteX0" fmla="*/ 17416 w 1116195"/>
                  <a:gd name="connsiteY0" fmla="*/ 5461 h 1545679"/>
                  <a:gd name="connsiteX1" fmla="*/ 493666 w 1116195"/>
                  <a:gd name="connsiteY1" fmla="*/ 272161 h 1545679"/>
                  <a:gd name="connsiteX2" fmla="*/ 900066 w 1116195"/>
                  <a:gd name="connsiteY2" fmla="*/ 513461 h 1545679"/>
                  <a:gd name="connsiteX3" fmla="*/ 1033416 w 1116195"/>
                  <a:gd name="connsiteY3" fmla="*/ 1383411 h 1545679"/>
                  <a:gd name="connsiteX4" fmla="*/ 1115966 w 1116195"/>
                  <a:gd name="connsiteY4" fmla="*/ 1545336 h 1545679"/>
                  <a:gd name="connsiteX5" fmla="*/ 1001666 w 1116195"/>
                  <a:gd name="connsiteY5" fmla="*/ 1329436 h 1545679"/>
                  <a:gd name="connsiteX6" fmla="*/ 938166 w 1116195"/>
                  <a:gd name="connsiteY6" fmla="*/ 773811 h 1545679"/>
                  <a:gd name="connsiteX7" fmla="*/ 842916 w 1116195"/>
                  <a:gd name="connsiteY7" fmla="*/ 459486 h 1545679"/>
                  <a:gd name="connsiteX8" fmla="*/ 484141 w 1116195"/>
                  <a:gd name="connsiteY8" fmla="*/ 300736 h 1545679"/>
                  <a:gd name="connsiteX9" fmla="*/ 141241 w 1116195"/>
                  <a:gd name="connsiteY9" fmla="*/ 107061 h 1545679"/>
                  <a:gd name="connsiteX10" fmla="*/ 17416 w 1116195"/>
                  <a:gd name="connsiteY10" fmla="*/ 5461 h 1545679"/>
                  <a:gd name="connsiteX0" fmla="*/ 15568 w 1133397"/>
                  <a:gd name="connsiteY0" fmla="*/ 5924 h 1539792"/>
                  <a:gd name="connsiteX1" fmla="*/ 510868 w 1133397"/>
                  <a:gd name="connsiteY1" fmla="*/ 266274 h 1539792"/>
                  <a:gd name="connsiteX2" fmla="*/ 917268 w 1133397"/>
                  <a:gd name="connsiteY2" fmla="*/ 507574 h 1539792"/>
                  <a:gd name="connsiteX3" fmla="*/ 1050618 w 1133397"/>
                  <a:gd name="connsiteY3" fmla="*/ 1377524 h 1539792"/>
                  <a:gd name="connsiteX4" fmla="*/ 1133168 w 1133397"/>
                  <a:gd name="connsiteY4" fmla="*/ 1539449 h 1539792"/>
                  <a:gd name="connsiteX5" fmla="*/ 1018868 w 1133397"/>
                  <a:gd name="connsiteY5" fmla="*/ 1323549 h 1539792"/>
                  <a:gd name="connsiteX6" fmla="*/ 955368 w 1133397"/>
                  <a:gd name="connsiteY6" fmla="*/ 767924 h 1539792"/>
                  <a:gd name="connsiteX7" fmla="*/ 860118 w 1133397"/>
                  <a:gd name="connsiteY7" fmla="*/ 453599 h 1539792"/>
                  <a:gd name="connsiteX8" fmla="*/ 501343 w 1133397"/>
                  <a:gd name="connsiteY8" fmla="*/ 294849 h 1539792"/>
                  <a:gd name="connsiteX9" fmla="*/ 158443 w 1133397"/>
                  <a:gd name="connsiteY9" fmla="*/ 101174 h 1539792"/>
                  <a:gd name="connsiteX10" fmla="*/ 15568 w 1133397"/>
                  <a:gd name="connsiteY10" fmla="*/ 5924 h 1539792"/>
                  <a:gd name="connsiteX0" fmla="*/ 241 w 1118070"/>
                  <a:gd name="connsiteY0" fmla="*/ 6810 h 1540678"/>
                  <a:gd name="connsiteX1" fmla="*/ 495541 w 1118070"/>
                  <a:gd name="connsiteY1" fmla="*/ 267160 h 1540678"/>
                  <a:gd name="connsiteX2" fmla="*/ 901941 w 1118070"/>
                  <a:gd name="connsiteY2" fmla="*/ 508460 h 1540678"/>
                  <a:gd name="connsiteX3" fmla="*/ 1035291 w 1118070"/>
                  <a:gd name="connsiteY3" fmla="*/ 1378410 h 1540678"/>
                  <a:gd name="connsiteX4" fmla="*/ 1117841 w 1118070"/>
                  <a:gd name="connsiteY4" fmla="*/ 1540335 h 1540678"/>
                  <a:gd name="connsiteX5" fmla="*/ 1003541 w 1118070"/>
                  <a:gd name="connsiteY5" fmla="*/ 1324435 h 1540678"/>
                  <a:gd name="connsiteX6" fmla="*/ 940041 w 1118070"/>
                  <a:gd name="connsiteY6" fmla="*/ 768810 h 1540678"/>
                  <a:gd name="connsiteX7" fmla="*/ 844791 w 1118070"/>
                  <a:gd name="connsiteY7" fmla="*/ 454485 h 1540678"/>
                  <a:gd name="connsiteX8" fmla="*/ 486016 w 1118070"/>
                  <a:gd name="connsiteY8" fmla="*/ 295735 h 1540678"/>
                  <a:gd name="connsiteX9" fmla="*/ 143116 w 1118070"/>
                  <a:gd name="connsiteY9" fmla="*/ 102060 h 1540678"/>
                  <a:gd name="connsiteX10" fmla="*/ 241 w 1118070"/>
                  <a:gd name="connsiteY10" fmla="*/ 6810 h 1540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18070" h="1540678">
                    <a:moveTo>
                      <a:pt x="241" y="6810"/>
                    </a:moveTo>
                    <a:cubicBezTo>
                      <a:pt x="5004" y="-41873"/>
                      <a:pt x="345258" y="183552"/>
                      <a:pt x="495541" y="267160"/>
                    </a:cubicBezTo>
                    <a:cubicBezTo>
                      <a:pt x="645824" y="350768"/>
                      <a:pt x="811983" y="323252"/>
                      <a:pt x="901941" y="508460"/>
                    </a:cubicBezTo>
                    <a:cubicBezTo>
                      <a:pt x="991899" y="693668"/>
                      <a:pt x="999308" y="1206431"/>
                      <a:pt x="1035291" y="1378410"/>
                    </a:cubicBezTo>
                    <a:cubicBezTo>
                      <a:pt x="1035291" y="1378410"/>
                      <a:pt x="1123133" y="1549331"/>
                      <a:pt x="1117841" y="1540335"/>
                    </a:cubicBezTo>
                    <a:cubicBezTo>
                      <a:pt x="1112549" y="1531339"/>
                      <a:pt x="1033174" y="1453022"/>
                      <a:pt x="1003541" y="1324435"/>
                    </a:cubicBezTo>
                    <a:cubicBezTo>
                      <a:pt x="973908" y="1195848"/>
                      <a:pt x="966499" y="913802"/>
                      <a:pt x="940041" y="768810"/>
                    </a:cubicBezTo>
                    <a:cubicBezTo>
                      <a:pt x="913583" y="623818"/>
                      <a:pt x="920462" y="533331"/>
                      <a:pt x="844791" y="454485"/>
                    </a:cubicBezTo>
                    <a:cubicBezTo>
                      <a:pt x="769120" y="375639"/>
                      <a:pt x="602962" y="354473"/>
                      <a:pt x="486016" y="295735"/>
                    </a:cubicBezTo>
                    <a:cubicBezTo>
                      <a:pt x="369070" y="236998"/>
                      <a:pt x="224079" y="150214"/>
                      <a:pt x="143116" y="102060"/>
                    </a:cubicBezTo>
                    <a:cubicBezTo>
                      <a:pt x="62154" y="53906"/>
                      <a:pt x="-4522" y="55493"/>
                      <a:pt x="241" y="6810"/>
                    </a:cubicBezTo>
                    <a:close/>
                  </a:path>
                </a:pathLst>
              </a:custGeom>
              <a:solidFill>
                <a:srgbClr val="D44B49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32" name="Freeform 2048">
                <a:extLst>
                  <a:ext uri="{FF2B5EF4-FFF2-40B4-BE49-F238E27FC236}">
                    <a16:creationId xmlns:a16="http://schemas.microsoft.com/office/drawing/2014/main" id="{7D8610F6-0698-49C8-A2EB-C916D8A5AE30}"/>
                  </a:ext>
                </a:extLst>
              </p:cNvPr>
              <p:cNvSpPr/>
              <p:nvPr/>
            </p:nvSpPr>
            <p:spPr>
              <a:xfrm>
                <a:off x="7888481" y="5143944"/>
                <a:ext cx="72672" cy="227818"/>
              </a:xfrm>
              <a:custGeom>
                <a:avLst/>
                <a:gdLst>
                  <a:gd name="connsiteX0" fmla="*/ 224791 w 293569"/>
                  <a:gd name="connsiteY0" fmla="*/ 6555 h 901905"/>
                  <a:gd name="connsiteX1" fmla="*/ 170816 w 293569"/>
                  <a:gd name="connsiteY1" fmla="*/ 260555 h 901905"/>
                  <a:gd name="connsiteX2" fmla="*/ 8891 w 293569"/>
                  <a:gd name="connsiteY2" fmla="*/ 555830 h 901905"/>
                  <a:gd name="connsiteX3" fmla="*/ 21591 w 293569"/>
                  <a:gd name="connsiteY3" fmla="*/ 901905 h 901905"/>
                  <a:gd name="connsiteX4" fmla="*/ 27941 w 293569"/>
                  <a:gd name="connsiteY4" fmla="*/ 606630 h 901905"/>
                  <a:gd name="connsiteX5" fmla="*/ 148591 w 293569"/>
                  <a:gd name="connsiteY5" fmla="*/ 381205 h 901905"/>
                  <a:gd name="connsiteX6" fmla="*/ 256541 w 293569"/>
                  <a:gd name="connsiteY6" fmla="*/ 625680 h 901905"/>
                  <a:gd name="connsiteX7" fmla="*/ 243841 w 293569"/>
                  <a:gd name="connsiteY7" fmla="*/ 828880 h 901905"/>
                  <a:gd name="connsiteX8" fmla="*/ 291466 w 293569"/>
                  <a:gd name="connsiteY8" fmla="*/ 568530 h 901905"/>
                  <a:gd name="connsiteX9" fmla="*/ 170816 w 293569"/>
                  <a:gd name="connsiteY9" fmla="*/ 343105 h 901905"/>
                  <a:gd name="connsiteX10" fmla="*/ 247016 w 293569"/>
                  <a:gd name="connsiteY10" fmla="*/ 98630 h 901905"/>
                  <a:gd name="connsiteX11" fmla="*/ 224791 w 293569"/>
                  <a:gd name="connsiteY11" fmla="*/ 6555 h 901905"/>
                  <a:gd name="connsiteX0" fmla="*/ 224791 w 293569"/>
                  <a:gd name="connsiteY0" fmla="*/ 30421 h 925771"/>
                  <a:gd name="connsiteX1" fmla="*/ 170816 w 293569"/>
                  <a:gd name="connsiteY1" fmla="*/ 284421 h 925771"/>
                  <a:gd name="connsiteX2" fmla="*/ 8891 w 293569"/>
                  <a:gd name="connsiteY2" fmla="*/ 579696 h 925771"/>
                  <a:gd name="connsiteX3" fmla="*/ 21591 w 293569"/>
                  <a:gd name="connsiteY3" fmla="*/ 925771 h 925771"/>
                  <a:gd name="connsiteX4" fmla="*/ 27941 w 293569"/>
                  <a:gd name="connsiteY4" fmla="*/ 630496 h 925771"/>
                  <a:gd name="connsiteX5" fmla="*/ 148591 w 293569"/>
                  <a:gd name="connsiteY5" fmla="*/ 405071 h 925771"/>
                  <a:gd name="connsiteX6" fmla="*/ 256541 w 293569"/>
                  <a:gd name="connsiteY6" fmla="*/ 649546 h 925771"/>
                  <a:gd name="connsiteX7" fmla="*/ 243841 w 293569"/>
                  <a:gd name="connsiteY7" fmla="*/ 852746 h 925771"/>
                  <a:gd name="connsiteX8" fmla="*/ 291466 w 293569"/>
                  <a:gd name="connsiteY8" fmla="*/ 592396 h 925771"/>
                  <a:gd name="connsiteX9" fmla="*/ 170816 w 293569"/>
                  <a:gd name="connsiteY9" fmla="*/ 366971 h 925771"/>
                  <a:gd name="connsiteX10" fmla="*/ 256541 w 293569"/>
                  <a:gd name="connsiteY10" fmla="*/ 43121 h 925771"/>
                  <a:gd name="connsiteX11" fmla="*/ 224791 w 293569"/>
                  <a:gd name="connsiteY11" fmla="*/ 30421 h 925771"/>
                  <a:gd name="connsiteX0" fmla="*/ 224791 w 293569"/>
                  <a:gd name="connsiteY0" fmla="*/ 30421 h 925771"/>
                  <a:gd name="connsiteX1" fmla="*/ 170816 w 293569"/>
                  <a:gd name="connsiteY1" fmla="*/ 284421 h 925771"/>
                  <a:gd name="connsiteX2" fmla="*/ 8891 w 293569"/>
                  <a:gd name="connsiteY2" fmla="*/ 579696 h 925771"/>
                  <a:gd name="connsiteX3" fmla="*/ 21591 w 293569"/>
                  <a:gd name="connsiteY3" fmla="*/ 925771 h 925771"/>
                  <a:gd name="connsiteX4" fmla="*/ 27941 w 293569"/>
                  <a:gd name="connsiteY4" fmla="*/ 630496 h 925771"/>
                  <a:gd name="connsiteX5" fmla="*/ 148591 w 293569"/>
                  <a:gd name="connsiteY5" fmla="*/ 405071 h 925771"/>
                  <a:gd name="connsiteX6" fmla="*/ 256541 w 293569"/>
                  <a:gd name="connsiteY6" fmla="*/ 649546 h 925771"/>
                  <a:gd name="connsiteX7" fmla="*/ 243841 w 293569"/>
                  <a:gd name="connsiteY7" fmla="*/ 852746 h 925771"/>
                  <a:gd name="connsiteX8" fmla="*/ 291466 w 293569"/>
                  <a:gd name="connsiteY8" fmla="*/ 592396 h 925771"/>
                  <a:gd name="connsiteX9" fmla="*/ 170816 w 293569"/>
                  <a:gd name="connsiteY9" fmla="*/ 366971 h 925771"/>
                  <a:gd name="connsiteX10" fmla="*/ 256541 w 293569"/>
                  <a:gd name="connsiteY10" fmla="*/ 43121 h 925771"/>
                  <a:gd name="connsiteX11" fmla="*/ 224791 w 293569"/>
                  <a:gd name="connsiteY11" fmla="*/ 30421 h 925771"/>
                  <a:gd name="connsiteX0" fmla="*/ 224791 w 293569"/>
                  <a:gd name="connsiteY0" fmla="*/ 18228 h 913578"/>
                  <a:gd name="connsiteX1" fmla="*/ 170816 w 293569"/>
                  <a:gd name="connsiteY1" fmla="*/ 272228 h 913578"/>
                  <a:gd name="connsiteX2" fmla="*/ 8891 w 293569"/>
                  <a:gd name="connsiteY2" fmla="*/ 567503 h 913578"/>
                  <a:gd name="connsiteX3" fmla="*/ 21591 w 293569"/>
                  <a:gd name="connsiteY3" fmla="*/ 913578 h 913578"/>
                  <a:gd name="connsiteX4" fmla="*/ 27941 w 293569"/>
                  <a:gd name="connsiteY4" fmla="*/ 618303 h 913578"/>
                  <a:gd name="connsiteX5" fmla="*/ 148591 w 293569"/>
                  <a:gd name="connsiteY5" fmla="*/ 392878 h 913578"/>
                  <a:gd name="connsiteX6" fmla="*/ 256541 w 293569"/>
                  <a:gd name="connsiteY6" fmla="*/ 637353 h 913578"/>
                  <a:gd name="connsiteX7" fmla="*/ 243841 w 293569"/>
                  <a:gd name="connsiteY7" fmla="*/ 840553 h 913578"/>
                  <a:gd name="connsiteX8" fmla="*/ 291466 w 293569"/>
                  <a:gd name="connsiteY8" fmla="*/ 580203 h 913578"/>
                  <a:gd name="connsiteX9" fmla="*/ 170816 w 293569"/>
                  <a:gd name="connsiteY9" fmla="*/ 354778 h 913578"/>
                  <a:gd name="connsiteX10" fmla="*/ 256541 w 293569"/>
                  <a:gd name="connsiteY10" fmla="*/ 30928 h 913578"/>
                  <a:gd name="connsiteX11" fmla="*/ 224791 w 293569"/>
                  <a:gd name="connsiteY11" fmla="*/ 18228 h 913578"/>
                  <a:gd name="connsiteX0" fmla="*/ 224791 w 292623"/>
                  <a:gd name="connsiteY0" fmla="*/ 18228 h 913578"/>
                  <a:gd name="connsiteX1" fmla="*/ 170816 w 292623"/>
                  <a:gd name="connsiteY1" fmla="*/ 272228 h 913578"/>
                  <a:gd name="connsiteX2" fmla="*/ 8891 w 292623"/>
                  <a:gd name="connsiteY2" fmla="*/ 567503 h 913578"/>
                  <a:gd name="connsiteX3" fmla="*/ 21591 w 292623"/>
                  <a:gd name="connsiteY3" fmla="*/ 913578 h 913578"/>
                  <a:gd name="connsiteX4" fmla="*/ 27941 w 292623"/>
                  <a:gd name="connsiteY4" fmla="*/ 618303 h 913578"/>
                  <a:gd name="connsiteX5" fmla="*/ 148591 w 292623"/>
                  <a:gd name="connsiteY5" fmla="*/ 392878 h 913578"/>
                  <a:gd name="connsiteX6" fmla="*/ 256541 w 292623"/>
                  <a:gd name="connsiteY6" fmla="*/ 637353 h 913578"/>
                  <a:gd name="connsiteX7" fmla="*/ 243841 w 292623"/>
                  <a:gd name="connsiteY7" fmla="*/ 840553 h 913578"/>
                  <a:gd name="connsiteX8" fmla="*/ 291466 w 292623"/>
                  <a:gd name="connsiteY8" fmla="*/ 580203 h 913578"/>
                  <a:gd name="connsiteX9" fmla="*/ 193041 w 292623"/>
                  <a:gd name="connsiteY9" fmla="*/ 288103 h 913578"/>
                  <a:gd name="connsiteX10" fmla="*/ 256541 w 292623"/>
                  <a:gd name="connsiteY10" fmla="*/ 30928 h 913578"/>
                  <a:gd name="connsiteX11" fmla="*/ 224791 w 292623"/>
                  <a:gd name="connsiteY11" fmla="*/ 18228 h 913578"/>
                  <a:gd name="connsiteX0" fmla="*/ 224791 w 292623"/>
                  <a:gd name="connsiteY0" fmla="*/ 18228 h 913578"/>
                  <a:gd name="connsiteX1" fmla="*/ 170816 w 292623"/>
                  <a:gd name="connsiteY1" fmla="*/ 272228 h 913578"/>
                  <a:gd name="connsiteX2" fmla="*/ 8891 w 292623"/>
                  <a:gd name="connsiteY2" fmla="*/ 567503 h 913578"/>
                  <a:gd name="connsiteX3" fmla="*/ 21591 w 292623"/>
                  <a:gd name="connsiteY3" fmla="*/ 913578 h 913578"/>
                  <a:gd name="connsiteX4" fmla="*/ 27941 w 292623"/>
                  <a:gd name="connsiteY4" fmla="*/ 618303 h 913578"/>
                  <a:gd name="connsiteX5" fmla="*/ 148591 w 292623"/>
                  <a:gd name="connsiteY5" fmla="*/ 392878 h 913578"/>
                  <a:gd name="connsiteX6" fmla="*/ 256541 w 292623"/>
                  <a:gd name="connsiteY6" fmla="*/ 637353 h 913578"/>
                  <a:gd name="connsiteX7" fmla="*/ 243841 w 292623"/>
                  <a:gd name="connsiteY7" fmla="*/ 840553 h 913578"/>
                  <a:gd name="connsiteX8" fmla="*/ 291466 w 292623"/>
                  <a:gd name="connsiteY8" fmla="*/ 580203 h 913578"/>
                  <a:gd name="connsiteX9" fmla="*/ 193041 w 292623"/>
                  <a:gd name="connsiteY9" fmla="*/ 288103 h 913578"/>
                  <a:gd name="connsiteX10" fmla="*/ 256541 w 292623"/>
                  <a:gd name="connsiteY10" fmla="*/ 30928 h 913578"/>
                  <a:gd name="connsiteX11" fmla="*/ 224791 w 292623"/>
                  <a:gd name="connsiteY11" fmla="*/ 18228 h 913578"/>
                  <a:gd name="connsiteX0" fmla="*/ 223666 w 291498"/>
                  <a:gd name="connsiteY0" fmla="*/ 18462 h 913812"/>
                  <a:gd name="connsiteX1" fmla="*/ 153816 w 291498"/>
                  <a:gd name="connsiteY1" fmla="*/ 275637 h 913812"/>
                  <a:gd name="connsiteX2" fmla="*/ 7766 w 291498"/>
                  <a:gd name="connsiteY2" fmla="*/ 567737 h 913812"/>
                  <a:gd name="connsiteX3" fmla="*/ 20466 w 291498"/>
                  <a:gd name="connsiteY3" fmla="*/ 913812 h 913812"/>
                  <a:gd name="connsiteX4" fmla="*/ 26816 w 291498"/>
                  <a:gd name="connsiteY4" fmla="*/ 618537 h 913812"/>
                  <a:gd name="connsiteX5" fmla="*/ 147466 w 291498"/>
                  <a:gd name="connsiteY5" fmla="*/ 393112 h 913812"/>
                  <a:gd name="connsiteX6" fmla="*/ 255416 w 291498"/>
                  <a:gd name="connsiteY6" fmla="*/ 637587 h 913812"/>
                  <a:gd name="connsiteX7" fmla="*/ 242716 w 291498"/>
                  <a:gd name="connsiteY7" fmla="*/ 840787 h 913812"/>
                  <a:gd name="connsiteX8" fmla="*/ 290341 w 291498"/>
                  <a:gd name="connsiteY8" fmla="*/ 580437 h 913812"/>
                  <a:gd name="connsiteX9" fmla="*/ 191916 w 291498"/>
                  <a:gd name="connsiteY9" fmla="*/ 288337 h 913812"/>
                  <a:gd name="connsiteX10" fmla="*/ 255416 w 291498"/>
                  <a:gd name="connsiteY10" fmla="*/ 31162 h 913812"/>
                  <a:gd name="connsiteX11" fmla="*/ 223666 w 291498"/>
                  <a:gd name="connsiteY11" fmla="*/ 18462 h 913812"/>
                  <a:gd name="connsiteX0" fmla="*/ 223666 w 291498"/>
                  <a:gd name="connsiteY0" fmla="*/ 18462 h 913812"/>
                  <a:gd name="connsiteX1" fmla="*/ 153816 w 291498"/>
                  <a:gd name="connsiteY1" fmla="*/ 275637 h 913812"/>
                  <a:gd name="connsiteX2" fmla="*/ 7766 w 291498"/>
                  <a:gd name="connsiteY2" fmla="*/ 567737 h 913812"/>
                  <a:gd name="connsiteX3" fmla="*/ 20466 w 291498"/>
                  <a:gd name="connsiteY3" fmla="*/ 913812 h 913812"/>
                  <a:gd name="connsiteX4" fmla="*/ 26816 w 291498"/>
                  <a:gd name="connsiteY4" fmla="*/ 618537 h 913812"/>
                  <a:gd name="connsiteX5" fmla="*/ 166516 w 291498"/>
                  <a:gd name="connsiteY5" fmla="*/ 339137 h 913812"/>
                  <a:gd name="connsiteX6" fmla="*/ 255416 w 291498"/>
                  <a:gd name="connsiteY6" fmla="*/ 637587 h 913812"/>
                  <a:gd name="connsiteX7" fmla="*/ 242716 w 291498"/>
                  <a:gd name="connsiteY7" fmla="*/ 840787 h 913812"/>
                  <a:gd name="connsiteX8" fmla="*/ 290341 w 291498"/>
                  <a:gd name="connsiteY8" fmla="*/ 580437 h 913812"/>
                  <a:gd name="connsiteX9" fmla="*/ 191916 w 291498"/>
                  <a:gd name="connsiteY9" fmla="*/ 288337 h 913812"/>
                  <a:gd name="connsiteX10" fmla="*/ 255416 w 291498"/>
                  <a:gd name="connsiteY10" fmla="*/ 31162 h 913812"/>
                  <a:gd name="connsiteX11" fmla="*/ 223666 w 291498"/>
                  <a:gd name="connsiteY11" fmla="*/ 18462 h 913812"/>
                  <a:gd name="connsiteX0" fmla="*/ 223666 w 291498"/>
                  <a:gd name="connsiteY0" fmla="*/ 18462 h 913812"/>
                  <a:gd name="connsiteX1" fmla="*/ 153816 w 291498"/>
                  <a:gd name="connsiteY1" fmla="*/ 275637 h 913812"/>
                  <a:gd name="connsiteX2" fmla="*/ 7766 w 291498"/>
                  <a:gd name="connsiteY2" fmla="*/ 567737 h 913812"/>
                  <a:gd name="connsiteX3" fmla="*/ 20466 w 291498"/>
                  <a:gd name="connsiteY3" fmla="*/ 913812 h 913812"/>
                  <a:gd name="connsiteX4" fmla="*/ 26816 w 291498"/>
                  <a:gd name="connsiteY4" fmla="*/ 618537 h 913812"/>
                  <a:gd name="connsiteX5" fmla="*/ 166516 w 291498"/>
                  <a:gd name="connsiteY5" fmla="*/ 339137 h 913812"/>
                  <a:gd name="connsiteX6" fmla="*/ 258591 w 291498"/>
                  <a:gd name="connsiteY6" fmla="*/ 564562 h 913812"/>
                  <a:gd name="connsiteX7" fmla="*/ 242716 w 291498"/>
                  <a:gd name="connsiteY7" fmla="*/ 840787 h 913812"/>
                  <a:gd name="connsiteX8" fmla="*/ 290341 w 291498"/>
                  <a:gd name="connsiteY8" fmla="*/ 580437 h 913812"/>
                  <a:gd name="connsiteX9" fmla="*/ 191916 w 291498"/>
                  <a:gd name="connsiteY9" fmla="*/ 288337 h 913812"/>
                  <a:gd name="connsiteX10" fmla="*/ 255416 w 291498"/>
                  <a:gd name="connsiteY10" fmla="*/ 31162 h 913812"/>
                  <a:gd name="connsiteX11" fmla="*/ 223666 w 291498"/>
                  <a:gd name="connsiteY11" fmla="*/ 18462 h 913812"/>
                  <a:gd name="connsiteX0" fmla="*/ 223666 w 291498"/>
                  <a:gd name="connsiteY0" fmla="*/ 18462 h 913812"/>
                  <a:gd name="connsiteX1" fmla="*/ 153816 w 291498"/>
                  <a:gd name="connsiteY1" fmla="*/ 275637 h 913812"/>
                  <a:gd name="connsiteX2" fmla="*/ 7766 w 291498"/>
                  <a:gd name="connsiteY2" fmla="*/ 567737 h 913812"/>
                  <a:gd name="connsiteX3" fmla="*/ 20466 w 291498"/>
                  <a:gd name="connsiteY3" fmla="*/ 913812 h 913812"/>
                  <a:gd name="connsiteX4" fmla="*/ 26816 w 291498"/>
                  <a:gd name="connsiteY4" fmla="*/ 589962 h 913812"/>
                  <a:gd name="connsiteX5" fmla="*/ 166516 w 291498"/>
                  <a:gd name="connsiteY5" fmla="*/ 339137 h 913812"/>
                  <a:gd name="connsiteX6" fmla="*/ 258591 w 291498"/>
                  <a:gd name="connsiteY6" fmla="*/ 564562 h 913812"/>
                  <a:gd name="connsiteX7" fmla="*/ 242716 w 291498"/>
                  <a:gd name="connsiteY7" fmla="*/ 840787 h 913812"/>
                  <a:gd name="connsiteX8" fmla="*/ 290341 w 291498"/>
                  <a:gd name="connsiteY8" fmla="*/ 580437 h 913812"/>
                  <a:gd name="connsiteX9" fmla="*/ 191916 w 291498"/>
                  <a:gd name="connsiteY9" fmla="*/ 288337 h 913812"/>
                  <a:gd name="connsiteX10" fmla="*/ 255416 w 291498"/>
                  <a:gd name="connsiteY10" fmla="*/ 31162 h 913812"/>
                  <a:gd name="connsiteX11" fmla="*/ 223666 w 291498"/>
                  <a:gd name="connsiteY11" fmla="*/ 18462 h 91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1498" h="913812">
                    <a:moveTo>
                      <a:pt x="223666" y="18462"/>
                    </a:moveTo>
                    <a:cubicBezTo>
                      <a:pt x="206733" y="59208"/>
                      <a:pt x="189799" y="184091"/>
                      <a:pt x="153816" y="275637"/>
                    </a:cubicBezTo>
                    <a:cubicBezTo>
                      <a:pt x="117833" y="367183"/>
                      <a:pt x="29991" y="461375"/>
                      <a:pt x="7766" y="567737"/>
                    </a:cubicBezTo>
                    <a:cubicBezTo>
                      <a:pt x="-14459" y="674100"/>
                      <a:pt x="17820" y="859308"/>
                      <a:pt x="20466" y="913812"/>
                    </a:cubicBezTo>
                    <a:cubicBezTo>
                      <a:pt x="22583" y="815387"/>
                      <a:pt x="2474" y="685741"/>
                      <a:pt x="26816" y="589962"/>
                    </a:cubicBezTo>
                    <a:cubicBezTo>
                      <a:pt x="51158" y="494183"/>
                      <a:pt x="130003" y="362420"/>
                      <a:pt x="166516" y="339137"/>
                    </a:cubicBezTo>
                    <a:cubicBezTo>
                      <a:pt x="202499" y="420629"/>
                      <a:pt x="245891" y="480954"/>
                      <a:pt x="258591" y="564562"/>
                    </a:cubicBezTo>
                    <a:cubicBezTo>
                      <a:pt x="271291" y="648170"/>
                      <a:pt x="240070" y="818033"/>
                      <a:pt x="242716" y="840787"/>
                    </a:cubicBezTo>
                    <a:cubicBezTo>
                      <a:pt x="258591" y="754004"/>
                      <a:pt x="298808" y="672512"/>
                      <a:pt x="290341" y="580437"/>
                    </a:cubicBezTo>
                    <a:cubicBezTo>
                      <a:pt x="281874" y="488362"/>
                      <a:pt x="199324" y="366654"/>
                      <a:pt x="191916" y="288337"/>
                    </a:cubicBezTo>
                    <a:cubicBezTo>
                      <a:pt x="206733" y="210020"/>
                      <a:pt x="243245" y="88841"/>
                      <a:pt x="255416" y="31162"/>
                    </a:cubicBezTo>
                    <a:cubicBezTo>
                      <a:pt x="223137" y="14758"/>
                      <a:pt x="240599" y="-22284"/>
                      <a:pt x="223666" y="18462"/>
                    </a:cubicBezTo>
                    <a:close/>
                  </a:path>
                </a:pathLst>
              </a:custGeom>
              <a:solidFill>
                <a:srgbClr val="D44B49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33" name="Freeform 2050">
                <a:extLst>
                  <a:ext uri="{FF2B5EF4-FFF2-40B4-BE49-F238E27FC236}">
                    <a16:creationId xmlns:a16="http://schemas.microsoft.com/office/drawing/2014/main" id="{731D65BF-9E4D-4E3F-810B-1C0348D7D39F}"/>
                  </a:ext>
                </a:extLst>
              </p:cNvPr>
              <p:cNvSpPr/>
              <p:nvPr/>
            </p:nvSpPr>
            <p:spPr>
              <a:xfrm>
                <a:off x="7672716" y="5010352"/>
                <a:ext cx="140035" cy="133458"/>
              </a:xfrm>
              <a:custGeom>
                <a:avLst/>
                <a:gdLst>
                  <a:gd name="connsiteX0" fmla="*/ 517572 w 517600"/>
                  <a:gd name="connsiteY0" fmla="*/ 157 h 505036"/>
                  <a:gd name="connsiteX1" fmla="*/ 152447 w 517600"/>
                  <a:gd name="connsiteY1" fmla="*/ 162082 h 505036"/>
                  <a:gd name="connsiteX2" fmla="*/ 47 w 517600"/>
                  <a:gd name="connsiteY2" fmla="*/ 504982 h 505036"/>
                  <a:gd name="connsiteX3" fmla="*/ 171497 w 517600"/>
                  <a:gd name="connsiteY3" fmla="*/ 187482 h 505036"/>
                  <a:gd name="connsiteX4" fmla="*/ 517572 w 517600"/>
                  <a:gd name="connsiteY4" fmla="*/ 157 h 505036"/>
                  <a:gd name="connsiteX0" fmla="*/ 511278 w 511307"/>
                  <a:gd name="connsiteY0" fmla="*/ 200 h 482854"/>
                  <a:gd name="connsiteX1" fmla="*/ 152503 w 511307"/>
                  <a:gd name="connsiteY1" fmla="*/ 139900 h 482854"/>
                  <a:gd name="connsiteX2" fmla="*/ 103 w 511307"/>
                  <a:gd name="connsiteY2" fmla="*/ 482800 h 482854"/>
                  <a:gd name="connsiteX3" fmla="*/ 171553 w 511307"/>
                  <a:gd name="connsiteY3" fmla="*/ 165300 h 482854"/>
                  <a:gd name="connsiteX4" fmla="*/ 511278 w 511307"/>
                  <a:gd name="connsiteY4" fmla="*/ 200 h 482854"/>
                  <a:gd name="connsiteX0" fmla="*/ 527157 w 527184"/>
                  <a:gd name="connsiteY0" fmla="*/ 157 h 505037"/>
                  <a:gd name="connsiteX1" fmla="*/ 152507 w 527184"/>
                  <a:gd name="connsiteY1" fmla="*/ 162082 h 505037"/>
                  <a:gd name="connsiteX2" fmla="*/ 107 w 527184"/>
                  <a:gd name="connsiteY2" fmla="*/ 504982 h 505037"/>
                  <a:gd name="connsiteX3" fmla="*/ 171557 w 527184"/>
                  <a:gd name="connsiteY3" fmla="*/ 187482 h 505037"/>
                  <a:gd name="connsiteX4" fmla="*/ 527157 w 527184"/>
                  <a:gd name="connsiteY4" fmla="*/ 157 h 505037"/>
                  <a:gd name="connsiteX0" fmla="*/ 514455 w 514483"/>
                  <a:gd name="connsiteY0" fmla="*/ 193 h 486023"/>
                  <a:gd name="connsiteX1" fmla="*/ 152505 w 514483"/>
                  <a:gd name="connsiteY1" fmla="*/ 143068 h 486023"/>
                  <a:gd name="connsiteX2" fmla="*/ 105 w 514483"/>
                  <a:gd name="connsiteY2" fmla="*/ 485968 h 486023"/>
                  <a:gd name="connsiteX3" fmla="*/ 171555 w 514483"/>
                  <a:gd name="connsiteY3" fmla="*/ 168468 h 486023"/>
                  <a:gd name="connsiteX4" fmla="*/ 514455 w 514483"/>
                  <a:gd name="connsiteY4" fmla="*/ 193 h 486023"/>
                  <a:gd name="connsiteX0" fmla="*/ 514455 w 514521"/>
                  <a:gd name="connsiteY0" fmla="*/ 52 h 485879"/>
                  <a:gd name="connsiteX1" fmla="*/ 152505 w 514521"/>
                  <a:gd name="connsiteY1" fmla="*/ 142927 h 485879"/>
                  <a:gd name="connsiteX2" fmla="*/ 105 w 514521"/>
                  <a:gd name="connsiteY2" fmla="*/ 485827 h 485879"/>
                  <a:gd name="connsiteX3" fmla="*/ 181080 w 514521"/>
                  <a:gd name="connsiteY3" fmla="*/ 155627 h 485879"/>
                  <a:gd name="connsiteX4" fmla="*/ 514455 w 514521"/>
                  <a:gd name="connsiteY4" fmla="*/ 52 h 485879"/>
                  <a:gd name="connsiteX0" fmla="*/ 514455 w 561700"/>
                  <a:gd name="connsiteY0" fmla="*/ 49495 h 535322"/>
                  <a:gd name="connsiteX1" fmla="*/ 520806 w 561700"/>
                  <a:gd name="connsiteY1" fmla="*/ 8220 h 535322"/>
                  <a:gd name="connsiteX2" fmla="*/ 152505 w 561700"/>
                  <a:gd name="connsiteY2" fmla="*/ 192370 h 535322"/>
                  <a:gd name="connsiteX3" fmla="*/ 105 w 561700"/>
                  <a:gd name="connsiteY3" fmla="*/ 535270 h 535322"/>
                  <a:gd name="connsiteX4" fmla="*/ 181080 w 561700"/>
                  <a:gd name="connsiteY4" fmla="*/ 205070 h 535322"/>
                  <a:gd name="connsiteX5" fmla="*/ 514455 w 561700"/>
                  <a:gd name="connsiteY5" fmla="*/ 49495 h 535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1700" h="535322">
                    <a:moveTo>
                      <a:pt x="514455" y="49495"/>
                    </a:moveTo>
                    <a:cubicBezTo>
                      <a:pt x="571076" y="16687"/>
                      <a:pt x="581131" y="-15592"/>
                      <a:pt x="520806" y="8220"/>
                    </a:cubicBezTo>
                    <a:cubicBezTo>
                      <a:pt x="460481" y="32032"/>
                      <a:pt x="239289" y="104528"/>
                      <a:pt x="152505" y="192370"/>
                    </a:cubicBezTo>
                    <a:cubicBezTo>
                      <a:pt x="65722" y="280212"/>
                      <a:pt x="-3070" y="531037"/>
                      <a:pt x="105" y="535270"/>
                    </a:cubicBezTo>
                    <a:cubicBezTo>
                      <a:pt x="3280" y="539503"/>
                      <a:pt x="95355" y="286033"/>
                      <a:pt x="181080" y="205070"/>
                    </a:cubicBezTo>
                    <a:cubicBezTo>
                      <a:pt x="266805" y="124108"/>
                      <a:pt x="457834" y="82303"/>
                      <a:pt x="514455" y="49495"/>
                    </a:cubicBezTo>
                    <a:close/>
                  </a:path>
                </a:pathLst>
              </a:custGeom>
              <a:solidFill>
                <a:srgbClr val="D44B49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>
                  <a:defRPr/>
                </a:pPr>
                <a:endParaRPr lang="en-US" sz="1799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</p:grp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CC52E7B-3977-40CB-8376-EA4068217E3A}"/>
              </a:ext>
            </a:extLst>
          </p:cNvPr>
          <p:cNvSpPr/>
          <p:nvPr/>
        </p:nvSpPr>
        <p:spPr>
          <a:xfrm>
            <a:off x="269029" y="1711832"/>
            <a:ext cx="4521825" cy="54945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r>
              <a:rPr lang="pl-PL" sz="1600" b="1" i="1">
                <a:solidFill>
                  <a:srgbClr val="0095FF"/>
                </a:solidFill>
                <a:latin typeface="Arial" panose="020B0604020202020204"/>
              </a:rPr>
              <a:t>Objawy i symptomy </a:t>
            </a:r>
            <a:r>
              <a:rPr lang="en-US" sz="1600" b="1" i="1">
                <a:solidFill>
                  <a:srgbClr val="0095FF"/>
                </a:solidFill>
                <a:latin typeface="Arial" panose="020B0604020202020204"/>
              </a:rPr>
              <a:t>GHD</a:t>
            </a:r>
            <a:r>
              <a:rPr lang="en-US" sz="1600" b="1" i="1" baseline="30000">
                <a:solidFill>
                  <a:srgbClr val="0095FF"/>
                </a:solidFill>
                <a:latin typeface="Arial" panose="020B0604020202020204"/>
              </a:rPr>
              <a:t>1-3</a:t>
            </a:r>
            <a:r>
              <a:rPr lang="pl-PL" sz="1600" b="1" i="1">
                <a:solidFill>
                  <a:srgbClr val="0095FF"/>
                </a:solidFill>
                <a:latin typeface="Arial" panose="020B0604020202020204"/>
              </a:rPr>
              <a:t> u dzieci</a:t>
            </a:r>
            <a:endParaRPr lang="en-US" sz="1600" b="1" i="1">
              <a:solidFill>
                <a:srgbClr val="0095FF"/>
              </a:solidFill>
              <a:latin typeface="Arial" panose="020B0604020202020204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E42D800-5FC6-4116-ADD6-4D497B3D42AB}"/>
              </a:ext>
            </a:extLst>
          </p:cNvPr>
          <p:cNvSpPr/>
          <p:nvPr/>
        </p:nvSpPr>
        <p:spPr>
          <a:xfrm>
            <a:off x="8018014" y="1600342"/>
            <a:ext cx="3656490" cy="54945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r>
              <a:rPr lang="pl-PL" sz="1600" b="1" i="1">
                <a:solidFill>
                  <a:srgbClr val="0000C9"/>
                </a:solidFill>
                <a:latin typeface="Arial" panose="020B0604020202020204"/>
              </a:rPr>
              <a:t>Dodatkowe konsekwencje u dzieci zdiagnozowanych </a:t>
            </a:r>
            <a:r>
              <a:rPr lang="en-US" sz="1600" b="1" i="1">
                <a:solidFill>
                  <a:srgbClr val="0000C9"/>
                </a:solidFill>
                <a:latin typeface="Arial" panose="020B0604020202020204"/>
              </a:rPr>
              <a:t>GHD</a:t>
            </a:r>
            <a:r>
              <a:rPr lang="en-US" sz="1600" b="1" i="1" baseline="30000">
                <a:solidFill>
                  <a:srgbClr val="0000C9"/>
                </a:solidFill>
                <a:latin typeface="Arial" panose="020B0604020202020204"/>
              </a:rPr>
              <a:t>4</a:t>
            </a:r>
            <a:r>
              <a:rPr lang="en-US" sz="1600" b="1" i="1">
                <a:solidFill>
                  <a:srgbClr val="0000C9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E6EC822-A59B-4C39-A2A0-585B003D0B7E}"/>
              </a:ext>
            </a:extLst>
          </p:cNvPr>
          <p:cNvSpPr txBox="1"/>
          <p:nvPr/>
        </p:nvSpPr>
        <p:spPr>
          <a:xfrm>
            <a:off x="562040" y="2339187"/>
            <a:ext cx="2091671" cy="269304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457063">
              <a:defRPr/>
            </a:pPr>
            <a:r>
              <a:rPr lang="pl-PL" sz="1300" b="1">
                <a:solidFill>
                  <a:srgbClr val="000000"/>
                </a:solidFill>
                <a:latin typeface="Arial" panose="020B0604020202020204"/>
              </a:rPr>
              <a:t>Objawy</a:t>
            </a:r>
            <a:r>
              <a:rPr lang="en-US" sz="1300" b="1">
                <a:solidFill>
                  <a:srgbClr val="000000"/>
                </a:solidFill>
                <a:latin typeface="Arial" panose="020B0604020202020204"/>
              </a:rPr>
              <a:t> </a:t>
            </a:r>
            <a:endParaRPr lang="en-US" sz="1300">
              <a:solidFill>
                <a:srgbClr val="000000"/>
              </a:solidFill>
              <a:latin typeface="Arial" panose="020B0604020202020204"/>
            </a:endParaRP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Niski wzrost</a:t>
            </a: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Niedojrzały wygląd twarzy</a:t>
            </a: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Wysoki ton głosu</a:t>
            </a: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Pulchny wygląd, zwiększona ilość tkanki tłuszczowej podskórnej</a:t>
            </a: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Małe genitalia (u mężczyzn)</a:t>
            </a: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Słabe tempo wzrostu</a:t>
            </a:r>
          </a:p>
          <a:p>
            <a:pPr marL="176160" indent="-176160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Opóźnione dojrzewanie kości</a:t>
            </a:r>
            <a:endParaRPr lang="en-US" sz="13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3D161F1-DC28-4DB0-9A50-18D51171752A}"/>
              </a:ext>
            </a:extLst>
          </p:cNvPr>
          <p:cNvSpPr txBox="1"/>
          <p:nvPr/>
        </p:nvSpPr>
        <p:spPr>
          <a:xfrm>
            <a:off x="2732331" y="2339187"/>
            <a:ext cx="2091671" cy="189233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457063">
              <a:defRPr/>
            </a:pPr>
            <a:r>
              <a:rPr lang="en-US" sz="1300" b="1" err="1">
                <a:solidFill>
                  <a:srgbClr val="000000"/>
                </a:solidFill>
                <a:latin typeface="Arial" panose="020B0604020202020204"/>
              </a:rPr>
              <a:t>Symp</a:t>
            </a:r>
            <a:r>
              <a:rPr lang="pl-PL" sz="1300" b="1">
                <a:solidFill>
                  <a:srgbClr val="000000"/>
                </a:solidFill>
                <a:latin typeface="Arial" panose="020B0604020202020204"/>
              </a:rPr>
              <a:t>tomy</a:t>
            </a:r>
            <a:r>
              <a:rPr lang="en-US" sz="1300" b="1">
                <a:solidFill>
                  <a:srgbClr val="000000"/>
                </a:solidFill>
                <a:latin typeface="Arial" panose="020B0604020202020204"/>
              </a:rPr>
              <a:t>*</a:t>
            </a:r>
          </a:p>
          <a:p>
            <a:pPr marL="171399" indent="-171399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Słaby sen</a:t>
            </a:r>
          </a:p>
          <a:p>
            <a:pPr marL="171399" indent="-171399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Zmniejszona siła, słaby rozwój mięśni</a:t>
            </a:r>
          </a:p>
          <a:p>
            <a:pPr marL="171399" indent="-171399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Słaby apetyt</a:t>
            </a:r>
          </a:p>
          <a:p>
            <a:pPr marL="171399" indent="-171399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Niska energia</a:t>
            </a:r>
          </a:p>
          <a:p>
            <a:pPr marL="171399" indent="-171399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Zmniejszona wytrzymałość</a:t>
            </a:r>
          </a:p>
          <a:p>
            <a:pPr marL="171399" indent="-171399" defTabSz="457063">
              <a:buFont typeface="Arial" panose="020B0604020202020204" pitchFamily="34" charset="0"/>
              <a:buChar char="•"/>
              <a:defRPr/>
            </a:pPr>
            <a:r>
              <a:rPr lang="pl-PL" sz="1300">
                <a:solidFill>
                  <a:srgbClr val="000000"/>
                </a:solidFill>
                <a:latin typeface="Arial" panose="020B0604020202020204"/>
              </a:rPr>
              <a:t>Słaba koncentracja</a:t>
            </a:r>
            <a:endParaRPr lang="en-US" sz="13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40B480A4-1678-41C3-90A0-4629BEBA965F}"/>
              </a:ext>
            </a:extLst>
          </p:cNvPr>
          <p:cNvSpPr/>
          <p:nvPr/>
        </p:nvSpPr>
        <p:spPr>
          <a:xfrm>
            <a:off x="8112694" y="2228407"/>
            <a:ext cx="3579879" cy="2715948"/>
          </a:xfrm>
          <a:prstGeom prst="roundRect">
            <a:avLst>
              <a:gd name="adj" fmla="val 6110"/>
            </a:avLst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05AE1D1-B067-4AB8-81B1-68AF4E2529B4}"/>
              </a:ext>
            </a:extLst>
          </p:cNvPr>
          <p:cNvSpPr txBox="1"/>
          <p:nvPr/>
        </p:nvSpPr>
        <p:spPr>
          <a:xfrm>
            <a:off x="8218677" y="2306312"/>
            <a:ext cx="3255164" cy="209288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175895" indent="-175895" defTabSz="457063">
              <a:buFont typeface="Arial" panose="020B0604020202020204" pitchFamily="34" charset="0"/>
              <a:buChar char="•"/>
              <a:defRPr/>
            </a:pPr>
            <a:r>
              <a:rPr lang="pl-PL" sz="1300" b="1" dirty="0">
                <a:solidFill>
                  <a:srgbClr val="000000"/>
                </a:solidFill>
                <a:latin typeface="Arial" panose="020B0604020202020204"/>
              </a:rPr>
              <a:t>Zwiększone </a:t>
            </a:r>
            <a:r>
              <a:rPr lang="pl-PL" sz="1300" dirty="0">
                <a:solidFill>
                  <a:srgbClr val="000000"/>
                </a:solidFill>
                <a:latin typeface="Arial" panose="020B0604020202020204"/>
              </a:rPr>
              <a:t>ryzyko rozwoju chorób sercowo-naczyniowych w młodym wieku</a:t>
            </a:r>
          </a:p>
          <a:p>
            <a:pPr marL="175895" marR="0" lvl="0" indent="-175895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większone</a:t>
            </a:r>
            <a:r>
              <a:rPr kumimoji="0" lang="pl-PL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rkery stanu zapalnego i stresu oksydacyjnego</a:t>
            </a:r>
            <a:endParaRPr lang="en-US" dirty="0"/>
          </a:p>
          <a:p>
            <a:pPr marL="175895" indent="-175895" defTabSz="457063">
              <a:buFont typeface="Arial" panose="020B0604020202020204" pitchFamily="34" charset="0"/>
              <a:buChar char="•"/>
              <a:defRPr/>
            </a:pPr>
            <a:r>
              <a:rPr lang="pl-PL" sz="1300" b="1" dirty="0">
                <a:solidFill>
                  <a:srgbClr val="000000"/>
                </a:solidFill>
                <a:latin typeface="Arial" panose="020B0604020202020204"/>
              </a:rPr>
              <a:t>Zmieniony</a:t>
            </a:r>
            <a:r>
              <a:rPr lang="pl-PL" sz="1300" dirty="0">
                <a:solidFill>
                  <a:srgbClr val="000000"/>
                </a:solidFill>
                <a:latin typeface="Arial" panose="020B0604020202020204"/>
              </a:rPr>
              <a:t> profil metaboliczny</a:t>
            </a:r>
            <a:endParaRPr lang="pl-PL" sz="1300" dirty="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175895" indent="-175895" defTabSz="457063">
              <a:buFont typeface="Arial" panose="020B0604020202020204" pitchFamily="34" charset="0"/>
              <a:buChar char="•"/>
              <a:defRPr/>
            </a:pPr>
            <a:r>
              <a:rPr lang="pl-PL" sz="1300" b="1" dirty="0">
                <a:solidFill>
                  <a:srgbClr val="000000"/>
                </a:solidFill>
                <a:latin typeface="Arial" panose="020B0604020202020204"/>
              </a:rPr>
              <a:t>Zmieniona</a:t>
            </a:r>
            <a:r>
              <a:rPr lang="pl-PL" sz="1300" dirty="0">
                <a:solidFill>
                  <a:srgbClr val="000000"/>
                </a:solidFill>
                <a:latin typeface="Arial" panose="020B0604020202020204"/>
              </a:rPr>
              <a:t> kompozycja ciała</a:t>
            </a:r>
            <a:endParaRPr lang="pl-PL" sz="1300" dirty="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175895" indent="-175895" defTabSz="457063">
              <a:buFont typeface="Arial" panose="020B0604020202020204" pitchFamily="34" charset="0"/>
              <a:buChar char="•"/>
              <a:defRPr/>
            </a:pPr>
            <a:r>
              <a:rPr lang="pl-PL" sz="1300" b="1" dirty="0">
                <a:solidFill>
                  <a:srgbClr val="000000"/>
                </a:solidFill>
                <a:latin typeface="Arial" panose="020B0604020202020204"/>
              </a:rPr>
              <a:t>Zmieniona</a:t>
            </a:r>
            <a:r>
              <a:rPr lang="pl-PL" sz="1300" dirty="0">
                <a:solidFill>
                  <a:srgbClr val="000000"/>
                </a:solidFill>
                <a:latin typeface="Arial" panose="020B0604020202020204"/>
              </a:rPr>
              <a:t> gęstość mineralna kości</a:t>
            </a:r>
            <a:endParaRPr lang="pl-PL" sz="1300" dirty="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175895" indent="-175895" defTabSz="457063">
              <a:buFont typeface="Arial" panose="020B0604020202020204" pitchFamily="34" charset="0"/>
              <a:buChar char="•"/>
              <a:defRPr/>
            </a:pPr>
            <a:r>
              <a:rPr lang="pl-PL" sz="1300" dirty="0">
                <a:solidFill>
                  <a:srgbClr val="000000"/>
                </a:solidFill>
                <a:latin typeface="Arial" panose="020B0604020202020204"/>
              </a:rPr>
              <a:t>Nieprawidłowości w morfologii i funkcji serca</a:t>
            </a:r>
            <a:endParaRPr lang="en-US" sz="1300" dirty="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BC8689-F233-0109-826E-AF82106F13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*Symptoms reported by patients/caregivers were noted at higher frequency for children 4 to less than 8 years of age. There were little to no differences in the narrative descriptions of signs and symptoms between boys and girls with GHD.</a:t>
            </a:r>
            <a:r>
              <a:rPr lang="en-US" baseline="30000"/>
              <a:t>2</a:t>
            </a:r>
          </a:p>
          <a:p>
            <a:r>
              <a:rPr lang="en-US"/>
              <a:t>CVD=cardiovascular disease; GHD=growth hormone deficiency.</a:t>
            </a:r>
          </a:p>
          <a:p>
            <a:r>
              <a:rPr lang="en-US" b="1"/>
              <a:t>1. </a:t>
            </a:r>
            <a:r>
              <a:rPr lang="en-US"/>
              <a:t>Growth—disorders of growth [chapter 6]. In: Gardner DG, </a:t>
            </a:r>
            <a:r>
              <a:rPr lang="en-US" err="1"/>
              <a:t>Shoback</a:t>
            </a:r>
            <a:r>
              <a:rPr lang="en-US"/>
              <a:t> D, eds. </a:t>
            </a:r>
            <a:r>
              <a:rPr lang="en-US" i="1"/>
              <a:t>Greenspan’s Basic &amp; Clinical Endocrinology. </a:t>
            </a:r>
            <a:r>
              <a:rPr lang="en-US"/>
              <a:t>10th ed. New York, NY: McGraw-Hill; 2017. </a:t>
            </a:r>
            <a:r>
              <a:rPr lang="en-US" b="1"/>
              <a:t>2. </a:t>
            </a:r>
            <a:r>
              <a:rPr lang="en-US" err="1"/>
              <a:t>Brod</a:t>
            </a:r>
            <a:r>
              <a:rPr lang="en-US"/>
              <a:t> M, et al. </a:t>
            </a:r>
            <a:r>
              <a:rPr lang="en-US" i="1"/>
              <a:t>Qual Life Res. </a:t>
            </a:r>
            <a:r>
              <a:rPr lang="en-US"/>
              <a:t>2017;26(7):1673-1686. </a:t>
            </a:r>
            <a:r>
              <a:rPr lang="en-US" b="1"/>
              <a:t>3.</a:t>
            </a:r>
            <a:r>
              <a:rPr lang="en-US"/>
              <a:t> Mehta A, et al. https://</a:t>
            </a:r>
            <a:r>
              <a:rPr lang="en-US" err="1"/>
              <a:t>www.pharmaceutical-journal.com</a:t>
            </a:r>
            <a:r>
              <a:rPr lang="en-US"/>
              <a:t>/growth-hormone-deficiency-in-children/20001867.article?firstPass=false</a:t>
            </a:r>
            <a:r>
              <a:rPr lang="en-US" i="1"/>
              <a:t>. </a:t>
            </a:r>
            <a:r>
              <a:rPr lang="en-US"/>
              <a:t>Accessed October 8, 2020. </a:t>
            </a:r>
            <a:r>
              <a:rPr lang="en-US" b="1"/>
              <a:t>4. </a:t>
            </a:r>
            <a:r>
              <a:rPr lang="en-US" err="1"/>
              <a:t>DeLeonibus</a:t>
            </a:r>
            <a:r>
              <a:rPr lang="en-US"/>
              <a:t> C, et al. </a:t>
            </a:r>
            <a:r>
              <a:rPr lang="en-US" i="1" err="1"/>
              <a:t>Horm</a:t>
            </a:r>
            <a:r>
              <a:rPr lang="en-US" i="1"/>
              <a:t> Res </a:t>
            </a:r>
            <a:r>
              <a:rPr lang="en-US" i="1" err="1"/>
              <a:t>Paediatr</a:t>
            </a:r>
            <a:r>
              <a:rPr lang="en-US" i="1"/>
              <a:t>. </a:t>
            </a:r>
            <a:r>
              <a:rPr lang="en-US"/>
              <a:t>2016;85(6):363-371. </a:t>
            </a: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E7CF7835-1F93-A5FC-D6A8-D15AB62D9AA3}"/>
              </a:ext>
            </a:extLst>
          </p:cNvPr>
          <p:cNvSpPr txBox="1">
            <a:spLocks/>
          </p:cNvSpPr>
          <p:nvPr/>
        </p:nvSpPr>
        <p:spPr bwMode="gray">
          <a:xfrm>
            <a:off x="269029" y="300347"/>
            <a:ext cx="11745989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3000" b="1" spc="-25" dirty="0">
                <a:solidFill>
                  <a:srgbClr val="0000CA"/>
                </a:solidFill>
                <a:latin typeface="Pfizer Tomorrow"/>
              </a:rPr>
              <a:t>Niedobór hormonu wzrostu (GHD) u dzieci wiąże się nie tylko z zaburzeniami wzrostu ale także z innymi fizycznymi konsekwencjami:</a:t>
            </a:r>
            <a:endParaRPr lang="pl-PL" sz="3000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1DEF288-EEE5-4B70-02A5-059E5251F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029" y="6160324"/>
            <a:ext cx="3139971" cy="60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0404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A972628-C703-0986-7585-05ECAD93CC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FE131F-2925-0B68-51CD-18F9798C0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451" y="241564"/>
            <a:ext cx="11611374" cy="1645111"/>
          </a:xfrm>
        </p:spPr>
        <p:txBody>
          <a:bodyPr/>
          <a:lstStyle/>
          <a:p>
            <a:pPr algn="ctr"/>
            <a:r>
              <a:rPr lang="pl-PL" b="1" dirty="0">
                <a:solidFill>
                  <a:srgbClr val="003FE2"/>
                </a:solidFill>
              </a:rPr>
              <a:t>Przeliczanie wyniku IGF-1 lub IGF-1 SDS uzyskanego w innym czasie niż 4 dni po poprzedniej dawce </a:t>
            </a:r>
            <a:r>
              <a:rPr lang="pl-PL" b="1" dirty="0" err="1">
                <a:solidFill>
                  <a:srgbClr val="003FE2"/>
                </a:solidFill>
              </a:rPr>
              <a:t>Somatrogonu</a:t>
            </a:r>
            <a:r>
              <a:rPr lang="pl-PL" b="1" dirty="0">
                <a:solidFill>
                  <a:srgbClr val="003FE2"/>
                </a:solidFill>
              </a:rPr>
              <a:t> na oczekiwany średni wynik na podstawie tego pomiaru.</a:t>
            </a:r>
            <a:endParaRPr lang="en-US" b="1" dirty="0">
              <a:solidFill>
                <a:srgbClr val="003FE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EEACFE-8C66-0D0C-9E19-6179EE8D7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073" y="1414958"/>
            <a:ext cx="5711249" cy="53746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EE0038D-65DE-1114-4F4C-0E3B0EA17807}"/>
              </a:ext>
            </a:extLst>
          </p:cNvPr>
          <p:cNvSpPr txBox="1"/>
          <p:nvPr/>
        </p:nvSpPr>
        <p:spPr bwMode="gray">
          <a:xfrm>
            <a:off x="6550697" y="6451079"/>
            <a:ext cx="61486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800" dirty="0">
                <a:solidFill>
                  <a:srgbClr val="000000"/>
                </a:solidFill>
                <a:latin typeface="Arial" panose="020B0604020202020204"/>
              </a:rPr>
              <a:t>Ref.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yak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tyaprakash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t al. “IGF-1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ment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ring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ekly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atrogon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diatric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s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ith GH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iciency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”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urnal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the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ocrine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ety</a:t>
            </a:r>
            <a:r>
              <a:rPr kumimoji="0" lang="pl-PL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ol. 9,2 bvaf001. 13 Jan. 2025,</a:t>
            </a:r>
            <a:endParaRPr lang="en-US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830F0718-4323-E414-A09F-A7E9B9E536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22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78E85E-0157-1DD7-8E19-5EBF0A3A379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 defTabSz="914126">
              <a:defRPr/>
            </a:pPr>
            <a:fld id="{00000000-1234-1234-1234-123412341234}" type="slidenum">
              <a:rPr lang="en-GB" sz="800">
                <a:latin typeface="Arial"/>
                <a:cs typeface="Arial"/>
                <a:sym typeface="Arial"/>
              </a:rPr>
              <a:pPr algn="r" defTabSz="914126">
                <a:defRPr/>
              </a:pPr>
              <a:t>41</a:t>
            </a:fld>
            <a:endParaRPr lang="en-GB" sz="800" dirty="0">
              <a:latin typeface="Arial"/>
              <a:cs typeface="Arial"/>
              <a:sym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A888E6-05C7-3D9D-B549-1F4D717FA9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6776" y="2798297"/>
            <a:ext cx="1989471" cy="14141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8E8F968-D3E3-FD47-A079-9F322AA586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8675" y="3015829"/>
            <a:ext cx="3228832" cy="929703"/>
          </a:xfrm>
          <a:prstGeom prst="rect">
            <a:avLst/>
          </a:prstGeom>
        </p:spPr>
      </p:pic>
      <p:sp>
        <p:nvSpPr>
          <p:cNvPr id="41" name="Google Shape;153;p7">
            <a:extLst>
              <a:ext uri="{FF2B5EF4-FFF2-40B4-BE49-F238E27FC236}">
                <a16:creationId xmlns:a16="http://schemas.microsoft.com/office/drawing/2014/main" id="{391514F6-75F7-AE88-85CA-89608E4A9098}"/>
              </a:ext>
            </a:extLst>
          </p:cNvPr>
          <p:cNvSpPr txBox="1"/>
          <p:nvPr/>
        </p:nvSpPr>
        <p:spPr>
          <a:xfrm>
            <a:off x="1394904" y="1668788"/>
            <a:ext cx="8898594" cy="929702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txBody>
          <a:bodyPr spcFirstLastPara="1" wrap="square" lIns="80979" tIns="27587" rIns="55188" bIns="27587" anchor="ctr" anchorCtr="0">
            <a:noAutofit/>
          </a:bodyPr>
          <a:lstStyle/>
          <a:p>
            <a:pPr algn="ctr" defTabSz="63322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pl-PL" sz="1799" b="1" kern="0" dirty="0">
                <a:solidFill>
                  <a:srgbClr val="000000"/>
                </a:solidFill>
                <a:cs typeface="Arial"/>
                <a:sym typeface="Arial"/>
              </a:rPr>
              <a:t>Rejestry pacjentów do długoterminowej obserwacji pacjentów w wieku dorosłym w celu monitorowania skuteczności i bezpieczeństwa LAGH</a:t>
            </a:r>
            <a:endParaRPr lang="en-US" sz="1799" b="1" kern="0" dirty="0">
              <a:solidFill>
                <a:srgbClr val="000000"/>
              </a:solidFill>
              <a:latin typeface="Arial" panose="020B0604020202020204"/>
              <a:cs typeface="Arial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09034FA-00E0-1CD7-18A8-2C02CA9A3E33}"/>
              </a:ext>
            </a:extLst>
          </p:cNvPr>
          <p:cNvSpPr txBox="1"/>
          <p:nvPr/>
        </p:nvSpPr>
        <p:spPr>
          <a:xfrm>
            <a:off x="1394904" y="4432899"/>
            <a:ext cx="3693214" cy="5846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Global Registry For Novel Therapies In </a:t>
            </a:r>
          </a:p>
          <a:p>
            <a:pPr algn="ctr" defTabSz="914126"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Rare Bone &amp; Endocrine Conditions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6FCF5C9-0382-DA79-BCAA-EABEB2C5CC95}"/>
              </a:ext>
            </a:extLst>
          </p:cNvPr>
          <p:cNvSpPr txBox="1"/>
          <p:nvPr/>
        </p:nvSpPr>
        <p:spPr>
          <a:xfrm>
            <a:off x="6094413" y="4438436"/>
            <a:ext cx="3952357" cy="5846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pl-PL" sz="1600" dirty="0">
                <a:solidFill>
                  <a:srgbClr val="000000"/>
                </a:solidFill>
              </a:rPr>
              <a:t>Rejestr wyników firmy Pfizer w 
Badania hormonu wzrostu</a:t>
            </a:r>
            <a:endParaRPr lang="en-US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86BE4A1A-83F5-3877-E3BE-5A8622A1D5FC}"/>
              </a:ext>
            </a:extLst>
          </p:cNvPr>
          <p:cNvSpPr txBox="1">
            <a:spLocks/>
          </p:cNvSpPr>
          <p:nvPr/>
        </p:nvSpPr>
        <p:spPr>
          <a:xfrm>
            <a:off x="1600858" y="6330919"/>
            <a:ext cx="8692640" cy="40258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+mn-lt"/>
                <a:ea typeface="Helvetica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126">
              <a:defRPr/>
            </a:pPr>
            <a:r>
              <a:rPr lang="en-US" sz="900" kern="0" dirty="0">
                <a:latin typeface="Arial" panose="020B0604020202020204"/>
              </a:rPr>
              <a:t>LAGH: long-acting growth hormone; NIS: non-interventional study</a:t>
            </a:r>
          </a:p>
          <a:p>
            <a:pPr defTabSz="914126">
              <a:defRPr/>
            </a:pPr>
            <a:r>
              <a:rPr lang="en-US" sz="900" kern="0" dirty="0">
                <a:latin typeface="Arial" panose="020B0604020202020204"/>
              </a:rPr>
              <a:t>1. Maniatis A et al, Journal of Clinical Endocrinology and Metabolism. </a:t>
            </a:r>
            <a:r>
              <a:rPr lang="el-GR" sz="900" kern="0" dirty="0">
                <a:latin typeface="Arial" panose="020B0604020202020204"/>
              </a:rPr>
              <a:t>2024. 00, 1–9. </a:t>
            </a:r>
            <a:endParaRPr lang="en-US" sz="900" kern="0" dirty="0">
              <a:latin typeface="Arial" panose="020B0604020202020204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46665AA-D237-3C04-D980-D1D86F361C3B}"/>
              </a:ext>
            </a:extLst>
          </p:cNvPr>
          <p:cNvSpPr txBox="1"/>
          <p:nvPr/>
        </p:nvSpPr>
        <p:spPr>
          <a:xfrm>
            <a:off x="6286471" y="5189211"/>
            <a:ext cx="3773219" cy="523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pl-PL" sz="1400" dirty="0">
                <a:solidFill>
                  <a:srgbClr val="000000"/>
                </a:solidFill>
              </a:rPr>
              <a:t>Niedawno przekształcony z niezależnego rejestru w badanie cząstkowe </a:t>
            </a:r>
            <a:r>
              <a:rPr lang="pl-PL" sz="1400" dirty="0" err="1">
                <a:solidFill>
                  <a:srgbClr val="000000"/>
                </a:solidFill>
              </a:rPr>
              <a:t>GloBE</a:t>
            </a:r>
            <a:r>
              <a:rPr lang="pl-PL" sz="1400" dirty="0">
                <a:solidFill>
                  <a:srgbClr val="000000"/>
                </a:solidFill>
              </a:rPr>
              <a:t>-Reg</a:t>
            </a:r>
            <a:endParaRPr lang="en-US" sz="14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EEF5FF3F-3462-484A-0F51-741231295F0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13386" y="654803"/>
            <a:ext cx="11293475" cy="8509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Knowledge </a:t>
            </a:r>
            <a:r>
              <a:rPr lang="pl-PL" sz="4800" b="1" dirty="0" err="1">
                <a:solidFill>
                  <a:srgbClr val="0000CA"/>
                </a:solidFill>
                <a:latin typeface="Pfizer Tomorrow"/>
              </a:rPr>
              <a:t>gaps</a:t>
            </a:r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528457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DC33E7C-448E-E661-2752-55922479A302}"/>
              </a:ext>
            </a:extLst>
          </p:cNvPr>
          <p:cNvSpPr txBox="1">
            <a:spLocks/>
          </p:cNvSpPr>
          <p:nvPr/>
        </p:nvSpPr>
        <p:spPr bwMode="gray">
          <a:xfrm>
            <a:off x="2460322" y="473561"/>
            <a:ext cx="4883728" cy="145355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0000"/>
              </a:lnSpc>
              <a:spcBef>
                <a:spcPts val="0"/>
              </a:spcBef>
              <a:buNone/>
              <a:defRPr lang="en-US" sz="7196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800" b="1" i="0" u="none" strike="noStrike" kern="1200" cap="none" spc="-25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Pfizer Tomorrow" panose="02010503040201060303" pitchFamily="2" charset="77"/>
                <a:ea typeface="+mj-ea"/>
                <a:cs typeface="+mj-cs"/>
              </a:rPr>
              <a:t>Dziękuję!</a:t>
            </a:r>
            <a:br>
              <a:rPr kumimoji="0" lang="pl-PL" sz="7196" b="1" i="0" u="none" strike="noStrike" kern="1200" cap="none" spc="-25" normalizeH="0" baseline="0" noProof="0" dirty="0">
                <a:ln>
                  <a:noFill/>
                </a:ln>
                <a:solidFill>
                  <a:srgbClr val="0000CA"/>
                </a:solidFill>
                <a:effectLst/>
                <a:uLnTx/>
                <a:uFillTx/>
                <a:latin typeface="Pfizer Tomorrow" panose="02010503040201060303" pitchFamily="2" charset="77"/>
                <a:ea typeface="+mj-ea"/>
                <a:cs typeface="+mj-cs"/>
              </a:rPr>
            </a:br>
            <a:endParaRPr kumimoji="0" lang="pl-PL" sz="7196" b="1" i="0" u="none" strike="noStrike" kern="1200" cap="none" spc="-25" normalizeH="0" baseline="0" noProof="0" dirty="0">
              <a:ln>
                <a:noFill/>
              </a:ln>
              <a:solidFill>
                <a:srgbClr val="0000CA"/>
              </a:solidFill>
              <a:effectLst/>
              <a:uLnTx/>
              <a:uFillTx/>
              <a:latin typeface="Pfizer Tomorrow" panose="02010503040201060303" pitchFamily="2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18798160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tekst, list, zrzut ekranu, Czcionka&#10;&#10;Opis wygenerowany automatycznie">
            <a:extLst>
              <a:ext uri="{FF2B5EF4-FFF2-40B4-BE49-F238E27FC236}">
                <a16:creationId xmlns:a16="http://schemas.microsoft.com/office/drawing/2014/main" id="{ADF392CA-79C5-EAC4-0FB7-D2377A9839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33" y="32852"/>
            <a:ext cx="9700158" cy="679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7787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list, papier, Czcionka&#10;&#10;Opis wygenerowany automatycznie">
            <a:extLst>
              <a:ext uri="{FF2B5EF4-FFF2-40B4-BE49-F238E27FC236}">
                <a16:creationId xmlns:a16="http://schemas.microsoft.com/office/drawing/2014/main" id="{D5C11C61-CFD6-5790-8091-E42A9675B7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390" y="0"/>
            <a:ext cx="95860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68984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zrzut ekranu, Czcionka, Równolegle&#10;&#10;Opis wygenerowany automatycznie">
            <a:extLst>
              <a:ext uri="{FF2B5EF4-FFF2-40B4-BE49-F238E27FC236}">
                <a16:creationId xmlns:a16="http://schemas.microsoft.com/office/drawing/2014/main" id="{8B79F721-D632-2811-61E3-2414C31234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33" y="8538"/>
            <a:ext cx="9700158" cy="684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8853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zrzut ekranu, dokument, Równolegle&#10;&#10;Opis wygenerowany automatycznie">
            <a:extLst>
              <a:ext uri="{FF2B5EF4-FFF2-40B4-BE49-F238E27FC236}">
                <a16:creationId xmlns:a16="http://schemas.microsoft.com/office/drawing/2014/main" id="{8DCE7AFB-8201-2173-C594-38FBF65510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556" y="0"/>
            <a:ext cx="96997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8311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zrzut ekranu, Czcionka, numer&#10;&#10;Opis wygenerowany automatycznie">
            <a:extLst>
              <a:ext uri="{FF2B5EF4-FFF2-40B4-BE49-F238E27FC236}">
                <a16:creationId xmlns:a16="http://schemas.microsoft.com/office/drawing/2014/main" id="{244A6744-68D3-9DC8-C913-532154164E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33" y="112123"/>
            <a:ext cx="9700158" cy="663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92371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zrzut ekranu, list, Czcionka&#10;&#10;Opis wygenerowany automatycznie">
            <a:extLst>
              <a:ext uri="{FF2B5EF4-FFF2-40B4-BE49-F238E27FC236}">
                <a16:creationId xmlns:a16="http://schemas.microsoft.com/office/drawing/2014/main" id="{1BBCA1D9-6C17-495F-55C8-9A2988E232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33" y="4297"/>
            <a:ext cx="9700158" cy="6849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0787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Czcionka, list, zrzut ekranu&#10;&#10;Opis wygenerowany automatycznie">
            <a:extLst>
              <a:ext uri="{FF2B5EF4-FFF2-40B4-BE49-F238E27FC236}">
                <a16:creationId xmlns:a16="http://schemas.microsoft.com/office/drawing/2014/main" id="{E003F51D-E2AF-8DB9-BAEC-6222152262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33" y="5415"/>
            <a:ext cx="9700158" cy="6847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237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88488C5-C2B0-4D91-8B7C-985AFA385214}"/>
              </a:ext>
            </a:extLst>
          </p:cNvPr>
          <p:cNvSpPr/>
          <p:nvPr/>
        </p:nvSpPr>
        <p:spPr>
          <a:xfrm>
            <a:off x="465440" y="1225168"/>
            <a:ext cx="11227579" cy="1494173"/>
          </a:xfrm>
          <a:prstGeom prst="roundRect">
            <a:avLst>
              <a:gd name="adj" fmla="val 50000"/>
            </a:avLst>
          </a:prstGeom>
          <a:solidFill>
            <a:srgbClr val="F5F3F8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1" tIns="45708" rIns="0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defTabSz="666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999" b="1">
                <a:solidFill>
                  <a:schemeClr val="tx1"/>
                </a:solidFill>
              </a:rPr>
              <a:t>Niedobór hormonu wzrostu </a:t>
            </a:r>
            <a:r>
              <a:rPr lang="pl-PL" sz="1999">
                <a:solidFill>
                  <a:schemeClr val="tx1"/>
                </a:solidFill>
              </a:rPr>
              <a:t>to stan, w którym wydzielanie hormonu wzrostu przez przysadkę mózgową jest niewystarczające. Może być to stan wrodzony, np. w przypadku zaburzeń rozwojowych mózgu, lub nabyty – po urazach głowy lub w przypadku guzów mózgu. Najczęściej nie udaje się ustalić przyczyny niedoboru hormonu wzrostu.</a:t>
            </a:r>
            <a:endParaRPr lang="en-US" sz="1999">
              <a:solidFill>
                <a:schemeClr val="tx1"/>
              </a:solidFill>
            </a:endParaRPr>
          </a:p>
        </p:txBody>
      </p:sp>
      <p:pic>
        <p:nvPicPr>
          <p:cNvPr id="5" name="Graphic 4" descr="World">
            <a:extLst>
              <a:ext uri="{FF2B5EF4-FFF2-40B4-BE49-F238E27FC236}">
                <a16:creationId xmlns:a16="http://schemas.microsoft.com/office/drawing/2014/main" id="{01FFD8FD-D3DE-4A69-90F1-2A3639D012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6355" y="1616470"/>
            <a:ext cx="817725" cy="817725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9E9086F-206F-4E9D-9EC1-36E05E31B486}"/>
              </a:ext>
            </a:extLst>
          </p:cNvPr>
          <p:cNvSpPr/>
          <p:nvPr/>
        </p:nvSpPr>
        <p:spPr>
          <a:xfrm>
            <a:off x="472875" y="2906835"/>
            <a:ext cx="11227579" cy="1314392"/>
          </a:xfrm>
          <a:prstGeom prst="roundRect">
            <a:avLst>
              <a:gd name="adj" fmla="val 50000"/>
            </a:avLst>
          </a:prstGeom>
          <a:solidFill>
            <a:srgbClr val="F5F3F8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1" tIns="45708" rIns="0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12609" lvl="1" defTabSz="666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899" b="1" dirty="0">
                <a:solidFill>
                  <a:schemeClr val="tx1"/>
                </a:solidFill>
              </a:rPr>
              <a:t>Co to jest </a:t>
            </a:r>
            <a:r>
              <a:rPr lang="pl-PL" sz="1899" dirty="0">
                <a:solidFill>
                  <a:schemeClr val="tx1"/>
                </a:solidFill>
              </a:rPr>
              <a:t>somato</a:t>
            </a:r>
            <a:r>
              <a:rPr lang="pl-PL" sz="1899" b="1" dirty="0">
                <a:solidFill>
                  <a:schemeClr val="tx1"/>
                </a:solidFill>
              </a:rPr>
              <a:t>tropinowa niedoczynność przysadki (niedobór hormonu wzrostu)?</a:t>
            </a:r>
          </a:p>
          <a:p>
            <a:pPr marL="512609" lvl="1" defTabSz="666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999" dirty="0">
                <a:solidFill>
                  <a:schemeClr val="tx1"/>
                </a:solidFill>
                <a:sym typeface="Wingdings" panose="05000000000000000000" pitchFamily="2" charset="2"/>
              </a:rPr>
              <a:t> T</a:t>
            </a:r>
            <a:r>
              <a:rPr lang="pl-PL" sz="1999" dirty="0">
                <a:solidFill>
                  <a:schemeClr val="tx1"/>
                </a:solidFill>
              </a:rPr>
              <a:t>o niewystarczające dla płci i wieku wydzielanie hormonu wzrostu przez komórki przysadki mózgowej.</a:t>
            </a:r>
            <a:endParaRPr lang="en-US" sz="1999" dirty="0"/>
          </a:p>
        </p:txBody>
      </p:sp>
      <p:sp>
        <p:nvSpPr>
          <p:cNvPr id="18" name="Freeform 9">
            <a:extLst>
              <a:ext uri="{FF2B5EF4-FFF2-40B4-BE49-F238E27FC236}">
                <a16:creationId xmlns:a16="http://schemas.microsoft.com/office/drawing/2014/main" id="{31729C7C-234B-4FF1-8DCC-7B264948A04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6511" y="3232943"/>
            <a:ext cx="557416" cy="650997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643ABE0-45A5-49CD-B80A-FB7D601599B8}"/>
              </a:ext>
            </a:extLst>
          </p:cNvPr>
          <p:cNvSpPr/>
          <p:nvPr/>
        </p:nvSpPr>
        <p:spPr>
          <a:xfrm>
            <a:off x="596355" y="4534368"/>
            <a:ext cx="11227579" cy="1455862"/>
          </a:xfrm>
          <a:prstGeom prst="roundRect">
            <a:avLst>
              <a:gd name="adj" fmla="val 50000"/>
            </a:avLst>
          </a:prstGeom>
          <a:solidFill>
            <a:srgbClr val="F5F3F8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1" tIns="45708" rIns="0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defTabSz="666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999">
                <a:solidFill>
                  <a:schemeClr val="tx1"/>
                </a:solidFill>
              </a:rPr>
              <a:t>Jak często występuje </a:t>
            </a:r>
            <a:r>
              <a:rPr lang="pl-PL" sz="1999" b="1">
                <a:solidFill>
                  <a:schemeClr val="tx1"/>
                </a:solidFill>
              </a:rPr>
              <a:t>somatotropinowa niedoczynność przysadki</a:t>
            </a:r>
            <a:r>
              <a:rPr lang="pl-PL" sz="1999">
                <a:solidFill>
                  <a:schemeClr val="tx1"/>
                </a:solidFill>
              </a:rPr>
              <a:t> (niedobór hormonu wzrostu)?</a:t>
            </a:r>
          </a:p>
          <a:p>
            <a:pPr lvl="1" defTabSz="666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1999">
                <a:solidFill>
                  <a:schemeClr val="tx1"/>
                </a:solidFill>
              </a:rPr>
              <a:t>W USA i Europie występuje z częstością około 1/ 4 000 urodzeń. Polsce około 1/ 2 500 urodzeń</a:t>
            </a:r>
            <a:endParaRPr lang="en-US" sz="1999">
              <a:solidFill>
                <a:schemeClr val="tx1"/>
              </a:solidFill>
            </a:endParaRPr>
          </a:p>
        </p:txBody>
      </p:sp>
      <p:pic>
        <p:nvPicPr>
          <p:cNvPr id="7" name="Graphic 6" descr="Bar graph with upward trend">
            <a:extLst>
              <a:ext uri="{FF2B5EF4-FFF2-40B4-BE49-F238E27FC236}">
                <a16:creationId xmlns:a16="http://schemas.microsoft.com/office/drawing/2014/main" id="{2EACC1A2-6F07-47FD-B562-91C7FB51F0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6511" y="4869746"/>
            <a:ext cx="748134" cy="748134"/>
          </a:xfrm>
          <a:prstGeom prst="rect">
            <a:avLst/>
          </a:prstGeom>
        </p:spPr>
      </p:pic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3C942826-C650-18E9-5E8F-05391C6ED5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B44BC755-80EA-A5B1-433C-41508AA76E63}"/>
              </a:ext>
            </a:extLst>
          </p:cNvPr>
          <p:cNvSpPr txBox="1">
            <a:spLocks/>
          </p:cNvSpPr>
          <p:nvPr/>
        </p:nvSpPr>
        <p:spPr bwMode="gray">
          <a:xfrm>
            <a:off x="216311" y="389728"/>
            <a:ext cx="121260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900" b="1" spc="-25" dirty="0">
                <a:solidFill>
                  <a:srgbClr val="0000CA"/>
                </a:solidFill>
                <a:latin typeface="Pfizer Tomorrow"/>
              </a:rPr>
              <a:t>Niedobór hormonu wzrostu (</a:t>
            </a:r>
            <a:r>
              <a:rPr lang="pl-PL" sz="2900" spc="-25" dirty="0">
                <a:solidFill>
                  <a:srgbClr val="0000CA"/>
                </a:solidFill>
                <a:latin typeface="Pfizer Tomorrow"/>
              </a:rPr>
              <a:t>somato</a:t>
            </a:r>
            <a:r>
              <a:rPr lang="pl-PL" sz="2900" b="1" spc="-25" dirty="0">
                <a:solidFill>
                  <a:srgbClr val="0000CA"/>
                </a:solidFill>
                <a:latin typeface="Pfizer Tomorrow"/>
              </a:rPr>
              <a:t>tropinowa niedoczynność przysadki)</a:t>
            </a:r>
            <a:endParaRPr lang="pl-PL" sz="2900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675658AA-E862-DB7E-DBB3-329E4392DC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6282" y="6256491"/>
            <a:ext cx="3139971" cy="60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3872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tekst, zrzut ekranu, Czcionka, design&#10;&#10;Opis wygenerowany automatycznie">
            <a:extLst>
              <a:ext uri="{FF2B5EF4-FFF2-40B4-BE49-F238E27FC236}">
                <a16:creationId xmlns:a16="http://schemas.microsoft.com/office/drawing/2014/main" id="{D330A0C7-218E-A236-CEEA-60F01730B6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583" y="46027"/>
            <a:ext cx="9700158" cy="5461113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0548400E-44A0-285D-DF1B-7FF79ED7651B}"/>
              </a:ext>
            </a:extLst>
          </p:cNvPr>
          <p:cNvSpPr txBox="1"/>
          <p:nvPr/>
        </p:nvSpPr>
        <p:spPr>
          <a:xfrm>
            <a:off x="1813916" y="2531477"/>
            <a:ext cx="6708213" cy="287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68" b="1" dirty="0"/>
              <a:t>Lek jest wydawany bezpłatnie w Programie Lekowym</a:t>
            </a:r>
          </a:p>
        </p:txBody>
      </p:sp>
    </p:spTree>
    <p:extLst>
      <p:ext uri="{BB962C8B-B14F-4D97-AF65-F5344CB8AC3E}">
        <p14:creationId xmlns:p14="http://schemas.microsoft.com/office/powerpoint/2010/main" val="227569385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1871840D-6B75-0F49-C689-C7C99FEAE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700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7848E234-9A4A-F2FA-ED92-55085A21FF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677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5D533CA3-ACC1-7F74-B056-67084176DF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12710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87244-D58F-5FF3-37A3-3E1E9DF28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>
            <a:extLst>
              <a:ext uri="{FF2B5EF4-FFF2-40B4-BE49-F238E27FC236}">
                <a16:creationId xmlns:a16="http://schemas.microsoft.com/office/drawing/2014/main" id="{3EAA8B17-EB7A-253B-EE69-25682EC31D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87471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0DB9E-EA3E-F3FE-EADE-E9AC04E17C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>
            <a:extLst>
              <a:ext uri="{FF2B5EF4-FFF2-40B4-BE49-F238E27FC236}">
                <a16:creationId xmlns:a16="http://schemas.microsoft.com/office/drawing/2014/main" id="{7B3E2822-5C53-8861-88C0-C698378E7C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157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320BE6-D000-B653-EE61-B3E2FB8A4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914126">
              <a:defRPr/>
            </a:pPr>
            <a:endParaRPr lang="en-US" sz="900" dirty="0">
              <a:solidFill>
                <a:srgbClr val="434343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7" name="Graphic 4">
            <a:extLst>
              <a:ext uri="{FF2B5EF4-FFF2-40B4-BE49-F238E27FC236}">
                <a16:creationId xmlns:a16="http://schemas.microsoft.com/office/drawing/2014/main" id="{16C33058-B45C-6F70-E321-B4B75DDD84CF}"/>
              </a:ext>
            </a:extLst>
          </p:cNvPr>
          <p:cNvSpPr/>
          <p:nvPr/>
        </p:nvSpPr>
        <p:spPr>
          <a:xfrm>
            <a:off x="324939" y="2383654"/>
            <a:ext cx="11774374" cy="3558811"/>
          </a:xfrm>
          <a:custGeom>
            <a:avLst/>
            <a:gdLst>
              <a:gd name="connsiteX0" fmla="*/ 12188952 w 12188952"/>
              <a:gd name="connsiteY0" fmla="*/ 2297991 h 3559738"/>
              <a:gd name="connsiteX1" fmla="*/ 0 w 12188952"/>
              <a:gd name="connsiteY1" fmla="*/ 0 h 3559738"/>
              <a:gd name="connsiteX2" fmla="*/ 0 w 12188952"/>
              <a:gd name="connsiteY2" fmla="*/ 138827 h 3559738"/>
              <a:gd name="connsiteX3" fmla="*/ 12186032 w 12188952"/>
              <a:gd name="connsiteY3" fmla="*/ 3077193 h 3559738"/>
              <a:gd name="connsiteX4" fmla="*/ 12188952 w 12188952"/>
              <a:gd name="connsiteY4" fmla="*/ 2297991 h 355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8952" h="3559738">
                <a:moveTo>
                  <a:pt x="12188952" y="2297991"/>
                </a:moveTo>
                <a:cubicBezTo>
                  <a:pt x="8273759" y="3691216"/>
                  <a:pt x="3915193" y="2925101"/>
                  <a:pt x="0" y="0"/>
                </a:cubicBezTo>
                <a:lnTo>
                  <a:pt x="0" y="138827"/>
                </a:lnTo>
                <a:cubicBezTo>
                  <a:pt x="3914177" y="3276149"/>
                  <a:pt x="8271600" y="4255368"/>
                  <a:pt x="12186032" y="3077193"/>
                </a:cubicBezTo>
                <a:cubicBezTo>
                  <a:pt x="12187047" y="2817806"/>
                  <a:pt x="12188025" y="2558085"/>
                  <a:pt x="12188952" y="2297991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alpha val="27000"/>
                </a:schemeClr>
              </a:gs>
            </a:gsLst>
            <a:lin ang="13500000" scaled="1"/>
            <a:tileRect/>
          </a:gradFill>
          <a:ln w="12690" cap="flat">
            <a:noFill/>
            <a:prstDash val="solid"/>
            <a:miter/>
          </a:ln>
        </p:spPr>
        <p:txBody>
          <a:bodyPr rtlCol="0" anchor="ctr"/>
          <a:lstStyle/>
          <a:p>
            <a:pPr defTabSz="914126">
              <a:defRPr/>
            </a:pPr>
            <a:endParaRPr lang="en-US" sz="1799" dirty="0">
              <a:solidFill>
                <a:srgbClr val="434343"/>
              </a:solidFill>
              <a:latin typeface="Arial" panose="020B0604020202020204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E59C949-0EB5-0969-0B92-CDA43678A961}"/>
              </a:ext>
            </a:extLst>
          </p:cNvPr>
          <p:cNvGrpSpPr/>
          <p:nvPr/>
        </p:nvGrpSpPr>
        <p:grpSpPr>
          <a:xfrm>
            <a:off x="682750" y="1941495"/>
            <a:ext cx="1123061" cy="1232589"/>
            <a:chOff x="682928" y="1941108"/>
            <a:chExt cx="1123354" cy="123291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B0AE569-A026-0211-4025-7102CE3E66A9}"/>
                </a:ext>
              </a:extLst>
            </p:cNvPr>
            <p:cNvSpPr txBox="1"/>
            <p:nvPr/>
          </p:nvSpPr>
          <p:spPr>
            <a:xfrm>
              <a:off x="682928" y="1941108"/>
              <a:ext cx="1123354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1981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Development of first rhGH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79945AD-B5C0-D7C0-5B49-9989FA5A67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3441" y="3097526"/>
              <a:ext cx="182327" cy="76492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31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B833F3C-0D6F-3429-12E5-B3D3D4342AB3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>
              <a:off x="1240423" y="2725938"/>
              <a:ext cx="4182" cy="408503"/>
            </a:xfrm>
            <a:prstGeom prst="straightConnector1">
              <a:avLst/>
            </a:prstGeom>
            <a:ln w="15875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0474054-2BB7-F793-E2B5-DD44E0547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6336" y="3113972"/>
              <a:ext cx="94491" cy="3964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84D13A7-286E-DC6B-48F6-113CB750BF6A}"/>
              </a:ext>
            </a:extLst>
          </p:cNvPr>
          <p:cNvGrpSpPr/>
          <p:nvPr/>
        </p:nvGrpSpPr>
        <p:grpSpPr>
          <a:xfrm>
            <a:off x="1656589" y="1466355"/>
            <a:ext cx="1266731" cy="2391839"/>
            <a:chOff x="1657020" y="1465844"/>
            <a:chExt cx="1267061" cy="239246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E368388-61A4-9904-E18F-E3283905B7A0}"/>
                </a:ext>
              </a:extLst>
            </p:cNvPr>
            <p:cNvSpPr txBox="1"/>
            <p:nvPr/>
          </p:nvSpPr>
          <p:spPr>
            <a:xfrm>
              <a:off x="1657020" y="1465844"/>
              <a:ext cx="1267061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1985</a:t>
              </a:r>
              <a:endParaRPr lang="en-GB" sz="1200" u="sng" dirty="0">
                <a:solidFill>
                  <a:srgbClr val="002060"/>
                </a:solidFill>
                <a:latin typeface="Arial" panose="020B0604020202020204"/>
              </a:endParaRP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PGHD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F9BCC55-824E-12BF-1228-8F2E277752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1960" y="3750410"/>
              <a:ext cx="257182" cy="107896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6350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58250766-2AE6-7A4F-1740-79719E0737A4}"/>
                </a:ext>
              </a:extLst>
            </p:cNvPr>
            <p:cNvCxnSpPr>
              <a:cxnSpLocks/>
              <a:stCxn id="14" idx="2"/>
            </p:cNvCxnSpPr>
            <p:nvPr/>
          </p:nvCxnSpPr>
          <p:spPr>
            <a:xfrm flipH="1">
              <a:off x="2288785" y="2250674"/>
              <a:ext cx="1766" cy="1546230"/>
            </a:xfrm>
            <a:prstGeom prst="straightConnector1">
              <a:avLst/>
            </a:prstGeom>
            <a:ln w="1905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57F0B66-DA5A-0C66-5451-4B8F77344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34296" y="3778564"/>
              <a:ext cx="108976" cy="45720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68D1B-9BC1-44F9-947C-AB05332B55BE}"/>
              </a:ext>
            </a:extLst>
          </p:cNvPr>
          <p:cNvGrpSpPr/>
          <p:nvPr/>
        </p:nvGrpSpPr>
        <p:grpSpPr>
          <a:xfrm>
            <a:off x="3014647" y="2595188"/>
            <a:ext cx="1123061" cy="1959568"/>
            <a:chOff x="3015433" y="2594971"/>
            <a:chExt cx="1123354" cy="196007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3BB20E5-8ECA-8B50-8A38-8FCE68D12F35}"/>
                </a:ext>
              </a:extLst>
            </p:cNvPr>
            <p:cNvSpPr txBox="1"/>
            <p:nvPr/>
          </p:nvSpPr>
          <p:spPr>
            <a:xfrm>
              <a:off x="3015433" y="2594971"/>
              <a:ext cx="1123354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1993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CRI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1D62CD8-A16C-E570-108E-2372A48595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8451" y="4396752"/>
              <a:ext cx="377318" cy="158297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952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9D8BE929-F817-3AE0-1A7E-C23FA8342E98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 flipH="1">
              <a:off x="3576472" y="3379801"/>
              <a:ext cx="638" cy="1093493"/>
            </a:xfrm>
            <a:prstGeom prst="straightConnector1">
              <a:avLst/>
            </a:prstGeom>
            <a:ln w="22225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74676A8-2110-FC91-46FB-032F5DDAF8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1827" y="4451085"/>
              <a:ext cx="129694" cy="54412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CC85C89-02D4-135E-EA17-8B23FE4AD4F1}"/>
              </a:ext>
            </a:extLst>
          </p:cNvPr>
          <p:cNvGrpSpPr/>
          <p:nvPr/>
        </p:nvGrpSpPr>
        <p:grpSpPr>
          <a:xfrm>
            <a:off x="4134994" y="1694653"/>
            <a:ext cx="1266730" cy="3372897"/>
            <a:chOff x="4136072" y="1694201"/>
            <a:chExt cx="1267060" cy="337377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05AB0C4-B884-508C-14B6-1D764A6491B0}"/>
                </a:ext>
              </a:extLst>
            </p:cNvPr>
            <p:cNvSpPr txBox="1"/>
            <p:nvPr/>
          </p:nvSpPr>
          <p:spPr>
            <a:xfrm>
              <a:off x="4136072" y="1694201"/>
              <a:ext cx="1267060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1996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AGHD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85CEE28-DBE0-D738-391B-4A4B9CA9F2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7127" y="4847743"/>
              <a:ext cx="524950" cy="220234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2700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7337A2E7-88EA-0818-CB4C-215FE9A361E4}"/>
                </a:ext>
              </a:extLst>
            </p:cNvPr>
            <p:cNvCxnSpPr>
              <a:cxnSpLocks/>
              <a:stCxn id="24" idx="2"/>
            </p:cNvCxnSpPr>
            <p:nvPr/>
          </p:nvCxnSpPr>
          <p:spPr>
            <a:xfrm flipH="1">
              <a:off x="4769166" y="2479031"/>
              <a:ext cx="436" cy="2487203"/>
            </a:xfrm>
            <a:prstGeom prst="straightConnector1">
              <a:avLst/>
            </a:prstGeom>
            <a:ln w="25400" cap="rnd">
              <a:headEnd type="none"/>
              <a:tailEnd type="none" w="sm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7131C19-91DE-F124-A81B-86A111263E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329" y="4926756"/>
              <a:ext cx="159674" cy="66988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77CB1A9-79E8-155B-FAC9-EDC57B022329}"/>
              </a:ext>
            </a:extLst>
          </p:cNvPr>
          <p:cNvGrpSpPr/>
          <p:nvPr/>
        </p:nvGrpSpPr>
        <p:grpSpPr>
          <a:xfrm>
            <a:off x="5160129" y="2936407"/>
            <a:ext cx="1039031" cy="2422901"/>
            <a:chOff x="5161473" y="2936279"/>
            <a:chExt cx="1039302" cy="2423532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501630B-EC3A-EF9E-3D9E-712CBD29170C}"/>
                </a:ext>
              </a:extLst>
            </p:cNvPr>
            <p:cNvSpPr txBox="1"/>
            <p:nvPr/>
          </p:nvSpPr>
          <p:spPr>
            <a:xfrm>
              <a:off x="5161473" y="2936279"/>
              <a:ext cx="1039302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1997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TS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CD74BC5-9214-F444-FF09-9BB54092B1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86989" y="5113013"/>
              <a:ext cx="588270" cy="246798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2700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625F1AF0-0FDC-B139-4DBB-F00CB9BC8D99}"/>
                </a:ext>
              </a:extLst>
            </p:cNvPr>
            <p:cNvCxnSpPr>
              <a:cxnSpLocks/>
              <a:stCxn id="29" idx="2"/>
            </p:cNvCxnSpPr>
            <p:nvPr/>
          </p:nvCxnSpPr>
          <p:spPr>
            <a:xfrm flipH="1">
              <a:off x="5679330" y="3721109"/>
              <a:ext cx="1794" cy="1508472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3001D15-BC1D-E926-86CB-531FB81C5D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91222" y="5201268"/>
              <a:ext cx="178932" cy="75068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611A19D-566A-444C-7A5D-35EA6E52FE16}"/>
              </a:ext>
            </a:extLst>
          </p:cNvPr>
          <p:cNvGrpSpPr/>
          <p:nvPr/>
        </p:nvGrpSpPr>
        <p:grpSpPr>
          <a:xfrm>
            <a:off x="6220462" y="1634486"/>
            <a:ext cx="1266729" cy="3997746"/>
            <a:chOff x="6222082" y="1634018"/>
            <a:chExt cx="1267059" cy="399878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EBEF100-7BEF-D714-8298-1A43B778F561}"/>
                </a:ext>
              </a:extLst>
            </p:cNvPr>
            <p:cNvSpPr txBox="1"/>
            <p:nvPr/>
          </p:nvSpPr>
          <p:spPr>
            <a:xfrm>
              <a:off x="6222082" y="1634018"/>
              <a:ext cx="1267059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2000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PWS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91A9912-FDD9-6445-B6F7-8442E698F3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4145" y="5346293"/>
              <a:ext cx="682933" cy="286512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695E177A-B0A6-2343-31A8-29E16800DC9D}"/>
                </a:ext>
              </a:extLst>
            </p:cNvPr>
            <p:cNvCxnSpPr>
              <a:cxnSpLocks/>
              <a:stCxn id="34" idx="2"/>
            </p:cNvCxnSpPr>
            <p:nvPr/>
          </p:nvCxnSpPr>
          <p:spPr>
            <a:xfrm>
              <a:off x="6855612" y="2418848"/>
              <a:ext cx="0" cy="3068749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AB4C4BB-6EAC-FB2B-0879-88DE4DA95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51314" y="5448366"/>
              <a:ext cx="207724" cy="87146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94B3589-33E8-DDF7-ABEA-800F036DF7E2}"/>
              </a:ext>
            </a:extLst>
          </p:cNvPr>
          <p:cNvGrpSpPr/>
          <p:nvPr/>
        </p:nvGrpSpPr>
        <p:grpSpPr>
          <a:xfrm>
            <a:off x="7252367" y="3170214"/>
            <a:ext cx="1169637" cy="2590769"/>
            <a:chOff x="7254256" y="3170147"/>
            <a:chExt cx="1169942" cy="2591444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5B295A3-2C56-D1E4-D4C8-55EF1DC16AA3}"/>
                </a:ext>
              </a:extLst>
            </p:cNvPr>
            <p:cNvSpPr txBox="1"/>
            <p:nvPr/>
          </p:nvSpPr>
          <p:spPr>
            <a:xfrm>
              <a:off x="7254256" y="3170147"/>
              <a:ext cx="1169942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2001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SGA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584B364-CB27-FE9D-5520-E1A5562C65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79903" y="5460095"/>
              <a:ext cx="718649" cy="301496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2208EEA3-2FDC-2EB8-9ECA-BFEAB1415B42}"/>
                </a:ext>
              </a:extLst>
            </p:cNvPr>
            <p:cNvCxnSpPr>
              <a:cxnSpLocks/>
              <a:stCxn id="39" idx="2"/>
            </p:cNvCxnSpPr>
            <p:nvPr/>
          </p:nvCxnSpPr>
          <p:spPr>
            <a:xfrm>
              <a:off x="7839227" y="3954977"/>
              <a:ext cx="1" cy="1653461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3D46D5C4-7389-F7C4-DB24-4B6B969191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29497" y="5567381"/>
              <a:ext cx="218590" cy="91704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67C1230-DDE5-B76F-A497-3D553F4C24F4}"/>
              </a:ext>
            </a:extLst>
          </p:cNvPr>
          <p:cNvGrpSpPr/>
          <p:nvPr/>
        </p:nvGrpSpPr>
        <p:grpSpPr>
          <a:xfrm>
            <a:off x="8403131" y="2003664"/>
            <a:ext cx="1123061" cy="3806989"/>
            <a:chOff x="8405320" y="2003292"/>
            <a:chExt cx="1123354" cy="380798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3251D3F-D9E2-EA56-DA15-8EDB3E88102B}"/>
                </a:ext>
              </a:extLst>
            </p:cNvPr>
            <p:cNvSpPr txBox="1"/>
            <p:nvPr/>
          </p:nvSpPr>
          <p:spPr>
            <a:xfrm>
              <a:off x="8405320" y="2003292"/>
              <a:ext cx="1123354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2003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ISS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3CB2551-AF74-E7E4-861D-21293FB132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2778" y="5488889"/>
              <a:ext cx="768439" cy="322384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CC2808A-0CBF-2A9B-468C-C383603DF868}"/>
                </a:ext>
              </a:extLst>
            </p:cNvPr>
            <p:cNvCxnSpPr>
              <a:cxnSpLocks/>
              <a:stCxn id="44" idx="2"/>
            </p:cNvCxnSpPr>
            <p:nvPr/>
          </p:nvCxnSpPr>
          <p:spPr>
            <a:xfrm flipH="1">
              <a:off x="8964285" y="2788122"/>
              <a:ext cx="2712" cy="2861959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7F1F90A-FB01-93A3-5BDB-A2D7B86036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9695" y="5603442"/>
              <a:ext cx="233734" cy="98058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5821284-EE5A-FAA0-5002-28EFB12B50B6}"/>
              </a:ext>
            </a:extLst>
          </p:cNvPr>
          <p:cNvGrpSpPr/>
          <p:nvPr/>
        </p:nvGrpSpPr>
        <p:grpSpPr>
          <a:xfrm>
            <a:off x="9539122" y="2940000"/>
            <a:ext cx="1040397" cy="2758528"/>
            <a:chOff x="9541607" y="2939872"/>
            <a:chExt cx="1040668" cy="2759247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5C0E1EA-50B6-A3B6-9451-0AAE07B8564E}"/>
                </a:ext>
              </a:extLst>
            </p:cNvPr>
            <p:cNvSpPr txBox="1"/>
            <p:nvPr/>
          </p:nvSpPr>
          <p:spPr>
            <a:xfrm>
              <a:off x="9541607" y="2939872"/>
              <a:ext cx="1040668" cy="1154162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2006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SHOX deficiency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3BB40CE-7350-6B6C-F652-7247F27F5A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88064" y="5385411"/>
              <a:ext cx="747755" cy="313708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13F18A7E-12A7-79E5-BF3A-DFFBF6C4A906}"/>
                </a:ext>
              </a:extLst>
            </p:cNvPr>
            <p:cNvCxnSpPr>
              <a:cxnSpLocks/>
              <a:stCxn id="49" idx="2"/>
            </p:cNvCxnSpPr>
            <p:nvPr/>
          </p:nvCxnSpPr>
          <p:spPr>
            <a:xfrm>
              <a:off x="10061941" y="4094034"/>
              <a:ext cx="1" cy="1435533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9EB1985-4DFE-8854-8EA2-5D090AFA7A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47784" y="5496945"/>
              <a:ext cx="227444" cy="95420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E2A8914-EA81-EA53-F047-50CFAA6EBC06}"/>
              </a:ext>
            </a:extLst>
          </p:cNvPr>
          <p:cNvGrpSpPr/>
          <p:nvPr/>
        </p:nvGrpSpPr>
        <p:grpSpPr>
          <a:xfrm>
            <a:off x="10462586" y="1309896"/>
            <a:ext cx="1078707" cy="4212636"/>
            <a:chOff x="10465312" y="1309344"/>
            <a:chExt cx="1078988" cy="4213733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6F2432D-B01C-CA54-A08F-D39B017E6328}"/>
                </a:ext>
              </a:extLst>
            </p:cNvPr>
            <p:cNvSpPr txBox="1"/>
            <p:nvPr/>
          </p:nvSpPr>
          <p:spPr>
            <a:xfrm>
              <a:off x="10465312" y="1309344"/>
              <a:ext cx="1078988" cy="1154162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 dirty="0">
                  <a:solidFill>
                    <a:srgbClr val="002060"/>
                  </a:solidFill>
                  <a:latin typeface="Arial" panose="020B0604020202020204"/>
                </a:rPr>
                <a:t>2007</a:t>
              </a:r>
            </a:p>
            <a:p>
              <a:pPr defTabSz="914126"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 panose="020B0604020202020204"/>
                </a:rPr>
                <a:t>Approval of rhGH for Noonan syndrome</a:t>
              </a:r>
              <a:r>
                <a:rPr lang="en-GB" sz="1200" b="1" baseline="30000" dirty="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A07237D-CDE3-37AB-1DB2-E56CFD7A29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11094" y="5192728"/>
              <a:ext cx="787424" cy="330349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352626F1-A06C-CD06-D236-B7E6CA32B6CE}"/>
                </a:ext>
              </a:extLst>
            </p:cNvPr>
            <p:cNvCxnSpPr>
              <a:cxnSpLocks/>
              <a:stCxn id="54" idx="2"/>
            </p:cNvCxnSpPr>
            <p:nvPr/>
          </p:nvCxnSpPr>
          <p:spPr>
            <a:xfrm>
              <a:off x="11004806" y="2463506"/>
              <a:ext cx="0" cy="2894396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3F1A5C9-C016-6B7D-1E09-4DA216B8F8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84614" y="5310052"/>
              <a:ext cx="239512" cy="100482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C6C20EBD-EFD6-B415-1375-7BB5865CF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69432" y="6127540"/>
            <a:ext cx="8189820" cy="558332"/>
          </a:xfrm>
        </p:spPr>
        <p:txBody>
          <a:bodyPr/>
          <a:lstStyle/>
          <a:p>
            <a:r>
              <a:rPr lang="en-US" sz="800" dirty="0"/>
              <a:t>AGHD=adult growth hormone deficiency; CRI=chronic renal insufficiency; ISS=idiopathic short stature; PGHD=pediatric growth hormone deficiency; rhGH=recombinant human growth hormone; SGA=small for gestational age; SHOX=short stature homeobox-containing gene; TS=Turner syndrome.</a:t>
            </a:r>
          </a:p>
          <a:p>
            <a:r>
              <a:rPr lang="en-US" sz="800" dirty="0"/>
              <a:t>1. Ayyar VS. </a:t>
            </a:r>
            <a:r>
              <a:rPr lang="en-US" sz="800" i="1" dirty="0"/>
              <a:t>Indian J Endocrinol Metab</a:t>
            </a:r>
            <a:r>
              <a:rPr lang="en-US" sz="800" dirty="0"/>
              <a:t>. 2011;15(suppl3):S162-S165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1F3621-520D-EC70-CB2B-63631074F4AC}"/>
              </a:ext>
            </a:extLst>
          </p:cNvPr>
          <p:cNvSpPr txBox="1"/>
          <p:nvPr/>
        </p:nvSpPr>
        <p:spPr>
          <a:xfrm>
            <a:off x="11914145" y="6666736"/>
            <a:ext cx="100939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 dirty="0">
              <a:solidFill>
                <a:srgbClr val="434343"/>
              </a:solidFill>
              <a:latin typeface="Arial" panose="020B0604020202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246344-880E-3295-011E-336D1033FFA1}"/>
              </a:ext>
            </a:extLst>
          </p:cNvPr>
          <p:cNvSpPr txBox="1"/>
          <p:nvPr/>
        </p:nvSpPr>
        <p:spPr>
          <a:xfrm>
            <a:off x="10233342" y="6028553"/>
            <a:ext cx="1865971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pl-PL" sz="10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daptacja według </a:t>
            </a:r>
            <a:r>
              <a:rPr lang="pl-PL" sz="10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yyar</a:t>
            </a:r>
            <a:r>
              <a:rPr lang="pl-PL" sz="10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 et al.</a:t>
            </a:r>
            <a:endParaRPr lang="en-US" sz="10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9CFDAB01-60A7-4FC9-4D82-52B710DC557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7992" y="18766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800" b="1" dirty="0" err="1">
                <a:solidFill>
                  <a:srgbClr val="0000CA"/>
                </a:solidFill>
                <a:latin typeface="Pfizer Tomorrow"/>
              </a:rPr>
              <a:t>rhGH</a:t>
            </a:r>
            <a:r>
              <a:rPr lang="pl-PL" sz="4800" b="1" dirty="0">
                <a:solidFill>
                  <a:srgbClr val="0000CA"/>
                </a:solidFill>
                <a:latin typeface="Pfizer Tomorrow"/>
              </a:rPr>
              <a:t>: 30 lat doświadczenia klinicznego</a:t>
            </a:r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301DD593-F5CC-1D24-8576-5343057F6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12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2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3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7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3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2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3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A1951CB-D5D5-D102-0A90-DBCEACCE2692}"/>
              </a:ext>
            </a:extLst>
          </p:cNvPr>
          <p:cNvSpPr txBox="1">
            <a:spLocks/>
          </p:cNvSpPr>
          <p:nvPr/>
        </p:nvSpPr>
        <p:spPr>
          <a:xfrm>
            <a:off x="3701943" y="5765447"/>
            <a:ext cx="8486882" cy="8854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defRPr/>
            </a:pPr>
            <a:r>
              <a:rPr lang="en-US" sz="1100" dirty="0">
                <a:solidFill>
                  <a:srgbClr val="4D4D4F"/>
                </a:solidFill>
                <a:latin typeface="Arial" panose="020B0604020202020204"/>
              </a:rPr>
              <a:t>rhGH: recombinant human growth hormone</a:t>
            </a:r>
            <a:endParaRPr lang="el-GR" sz="1100" dirty="0">
              <a:solidFill>
                <a:srgbClr val="4D4D4F"/>
              </a:solidFill>
              <a:latin typeface="Arial" panose="020B0604020202020204"/>
            </a:endParaRPr>
          </a:p>
          <a:p>
            <a:pPr defTabSz="914126">
              <a:defRPr/>
            </a:pP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ANSWER, </a:t>
            </a:r>
            <a:r>
              <a:rPr lang="en-US" sz="1100" dirty="0">
                <a:solidFill>
                  <a:srgbClr val="4D4D4F"/>
                </a:solidFill>
                <a:latin typeface="Arial" panose="020B0604020202020204"/>
              </a:rPr>
              <a:t>American </a:t>
            </a:r>
            <a:r>
              <a:rPr lang="en-US" sz="1100" dirty="0" err="1">
                <a:solidFill>
                  <a:srgbClr val="4D4D4F"/>
                </a:solidFill>
                <a:latin typeface="Arial" panose="020B0604020202020204"/>
              </a:rPr>
              <a:t>Norditropin</a:t>
            </a:r>
            <a:r>
              <a:rPr lang="en-US" sz="1100" baseline="30000" dirty="0">
                <a:solidFill>
                  <a:srgbClr val="4D4D4F"/>
                </a:solidFill>
                <a:latin typeface="Arial" panose="020B0604020202020204"/>
              </a:rPr>
              <a:t>®</a:t>
            </a:r>
            <a:r>
              <a:rPr lang="en-US" sz="1100" dirty="0">
                <a:solidFill>
                  <a:srgbClr val="4D4D4F"/>
                </a:solidFill>
                <a:latin typeface="Arial" panose="020B0604020202020204"/>
              </a:rPr>
              <a:t> Studies: Web Enabled Research Program Registry; </a:t>
            </a: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ECOS, Easypod</a:t>
            </a:r>
            <a:r>
              <a:rPr lang="it-IT" sz="1100" baseline="30000" dirty="0">
                <a:solidFill>
                  <a:srgbClr val="4D4D4F"/>
                </a:solidFill>
                <a:latin typeface="Arial" panose="020B0604020202020204"/>
              </a:rPr>
              <a:t>™</a:t>
            </a: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 Connect Observational Study; GeNeSIS, </a:t>
            </a:r>
            <a:r>
              <a:rPr lang="en-US" sz="11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Genetics and Neuroendocrinology of </a:t>
            </a:r>
            <a:r>
              <a:rPr lang="en-US" sz="1100" dirty="0">
                <a:solidFill>
                  <a:srgbClr val="5F6368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Short Stature</a:t>
            </a:r>
            <a:r>
              <a:rPr lang="en-US" sz="11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 International </a:t>
            </a:r>
            <a:r>
              <a:rPr lang="en-US" sz="1100" dirty="0">
                <a:solidFill>
                  <a:srgbClr val="5F6368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Study; </a:t>
            </a: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GH, growth hormone; IOS, International Observational Study; KIGS, Kabi International Growth Study; NCGS, National Cooperative Growth Study; PATRO, Patients Treated with Omnitrope</a:t>
            </a:r>
            <a:r>
              <a:rPr lang="it-IT" sz="1100" baseline="30000" dirty="0">
                <a:solidFill>
                  <a:srgbClr val="4D4D4F"/>
                </a:solidFill>
                <a:latin typeface="Arial" panose="020B0604020202020204"/>
              </a:rPr>
              <a:t>®</a:t>
            </a: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; SAGhE, </a:t>
            </a:r>
            <a:r>
              <a:rPr lang="en-US" sz="1100" dirty="0">
                <a:solidFill>
                  <a:srgbClr val="4D4D4F"/>
                </a:solidFill>
                <a:latin typeface="Arial" panose="020B0604020202020204"/>
              </a:rPr>
              <a:t>Safety and Appropriateness of Growth Hormone Treatments in Europe.</a:t>
            </a:r>
            <a:r>
              <a:rPr lang="el-GR" sz="1100" dirty="0">
                <a:solidFill>
                  <a:srgbClr val="4D4D4F"/>
                </a:solidFill>
                <a:latin typeface="Arial" panose="020B0604020202020204"/>
              </a:rPr>
              <a:t> </a:t>
            </a:r>
            <a:br>
              <a:rPr lang="it-IT" sz="1100" dirty="0">
                <a:solidFill>
                  <a:srgbClr val="4D4D4F"/>
                </a:solidFill>
                <a:latin typeface="Arial" panose="020B0604020202020204"/>
              </a:rPr>
            </a:b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Eslami J. </a:t>
            </a:r>
            <a:r>
              <a:rPr lang="it-IT" sz="1100" i="1" dirty="0">
                <a:solidFill>
                  <a:srgbClr val="4D4D4F"/>
                </a:solidFill>
                <a:latin typeface="Arial" panose="020B0604020202020204"/>
              </a:rPr>
              <a:t>J Pediatr Endocrinol Metab</a:t>
            </a:r>
            <a:r>
              <a:rPr lang="it-IT" sz="1100" dirty="0">
                <a:solidFill>
                  <a:srgbClr val="4D4D4F"/>
                </a:solidFill>
                <a:latin typeface="Arial" panose="020B0604020202020204"/>
              </a:rPr>
              <a:t> 2022;35(6):709–26</a:t>
            </a:r>
            <a:r>
              <a:rPr lang="en-US" sz="1100" dirty="0">
                <a:solidFill>
                  <a:srgbClr val="4D4D4F"/>
                </a:solidFill>
                <a:latin typeface="Arial" panose="020B0604020202020204"/>
              </a:rPr>
              <a:t>.</a:t>
            </a:r>
            <a:endParaRPr lang="it-IT" sz="1100" dirty="0">
              <a:solidFill>
                <a:srgbClr val="4D4D4F"/>
              </a:solidFill>
              <a:latin typeface="Arial" panose="020B0604020202020204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72E256B-A4F0-7FC1-EAC2-85EA2C19556C}"/>
              </a:ext>
            </a:extLst>
          </p:cNvPr>
          <p:cNvGraphicFramePr/>
          <p:nvPr/>
        </p:nvGraphicFramePr>
        <p:xfrm>
          <a:off x="380900" y="1590052"/>
          <a:ext cx="11659027" cy="3955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0978DB9-DD97-8EB7-C0B1-9744DF710F3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7107" y="5245863"/>
            <a:ext cx="907105" cy="26836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21C636A7-6B38-3445-A79D-2796B7376C76}"/>
              </a:ext>
            </a:extLst>
          </p:cNvPr>
          <p:cNvSpPr txBox="1">
            <a:spLocks/>
          </p:cNvSpPr>
          <p:nvPr/>
        </p:nvSpPr>
        <p:spPr>
          <a:xfrm>
            <a:off x="609441" y="1369955"/>
            <a:ext cx="11198483" cy="4227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bIns="45708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600" b="1">
                <a:solidFill>
                  <a:schemeClr val="bg1"/>
                </a:solidFill>
              </a:defRPr>
            </a:lvl1pPr>
            <a:lvl2pPr marL="741363" indent="-284163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/>
            </a:lvl3pPr>
            <a:lvl4pPr marL="1600200" indent="-22860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</a:lvl4pPr>
            <a:lvl5pPr marL="2057400" indent="-22860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126">
              <a:defRPr/>
            </a:pPr>
            <a:r>
              <a:rPr lang="pl-PL" sz="2399" kern="0" dirty="0">
                <a:solidFill>
                  <a:srgbClr val="000000"/>
                </a:solidFill>
                <a:latin typeface="Arial" panose="020B0604020202020204"/>
              </a:rPr>
              <a:t>Rejestry </a:t>
            </a:r>
            <a:r>
              <a:rPr lang="pl-PL" sz="2800" kern="0" dirty="0">
                <a:solidFill>
                  <a:srgbClr val="242424"/>
                </a:solidFill>
                <a:latin typeface="Segoe UI" panose="020B0502040204020203" pitchFamily="34" charset="0"/>
              </a:rPr>
              <a:t>GH</a:t>
            </a:r>
            <a:endParaRPr lang="en-GB" sz="2399" kern="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0A82D118-E9E9-FC6C-8E4E-B7FDBF5B9BA0}"/>
              </a:ext>
            </a:extLst>
          </p:cNvPr>
          <p:cNvSpPr txBox="1">
            <a:spLocks/>
          </p:cNvSpPr>
          <p:nvPr/>
        </p:nvSpPr>
        <p:spPr bwMode="gray">
          <a:xfrm>
            <a:off x="-15974" y="243669"/>
            <a:ext cx="11823898" cy="101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Codzienne podawanie </a:t>
            </a:r>
            <a:r>
              <a:rPr lang="pl-PL" sz="3600" b="1" spc="-25" dirty="0" err="1">
                <a:solidFill>
                  <a:srgbClr val="0000CA"/>
                </a:solidFill>
                <a:latin typeface="Pfizer Tomorrow"/>
              </a:rPr>
              <a:t>rhGH</a:t>
            </a:r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 wykazało dobre profile bezpieczeństwa i skuteczności. </a:t>
            </a:r>
            <a:endParaRPr lang="pl-PL" sz="3600" b="1" spc="-25" dirty="0">
              <a:solidFill>
                <a:srgbClr val="0000CA"/>
              </a:solidFill>
              <a:latin typeface="Pfizer Tomorrow"/>
              <a:cs typeface="Arial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F7ABDE82-3F91-DBCF-7E05-0968D19659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982" y="6004638"/>
            <a:ext cx="3487214" cy="64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290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5458937-5585-C783-A16A-B4FBDD8B6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755" y="2498780"/>
            <a:ext cx="7753385" cy="3965614"/>
          </a:xfrm>
        </p:spPr>
        <p:txBody>
          <a:bodyPr vert="horz" lIns="45720" tIns="45720" rIns="45720" bIns="45720" rtlCol="0" anchor="t">
            <a:noAutofit/>
          </a:bodyPr>
          <a:lstStyle/>
          <a:p>
            <a:pPr marL="287020" lvl="1" indent="0">
              <a:buSzPct val="100000"/>
              <a:buNone/>
            </a:pP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ormon Krótko Działający</a:t>
            </a:r>
            <a:endParaRPr lang="en-US" sz="1800" b="1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572770" lvl="1" indent="-285750"/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odawany </a:t>
            </a: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az dziennie 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jako iniekcja podskórna</a:t>
            </a:r>
            <a:endParaRPr lang="pl-PL" sz="1800" dirty="0">
              <a:solidFill>
                <a:schemeClr val="accent1">
                  <a:lumMod val="75000"/>
                </a:schemeClr>
              </a:solidFill>
              <a:cs typeface="Arial" panose="020B0604020202020204"/>
            </a:endParaRPr>
          </a:p>
          <a:p>
            <a:pPr marL="572770" lvl="1" indent="-285750"/>
            <a:r>
              <a:rPr lang="pl-PL" sz="1800" dirty="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Dobrze ugruntowany profil skuteczności i bezpieczeństwa</a:t>
            </a:r>
          </a:p>
          <a:p>
            <a:pPr marL="572770" lvl="1" indent="-285750">
              <a:buSzPct val="100000"/>
            </a:pPr>
            <a:r>
              <a:rPr lang="pl-PL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kazania:</a:t>
            </a:r>
          </a:p>
          <a:p>
            <a:pPr marL="801301" lvl="2" indent="-285750">
              <a:buSzPct val="100000"/>
            </a:pPr>
            <a:r>
              <a:rPr lang="pl-PL" b="1" u="sng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zieci:</a:t>
            </a:r>
            <a:r>
              <a:rPr lang="pl-PL" u="sng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aburzenia Wzrostu Związane z:</a:t>
            </a:r>
          </a:p>
          <a:p>
            <a:pPr marL="1029833" lvl="3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iewystarczającym wydzielaniem hormonu wzrostu</a:t>
            </a:r>
          </a:p>
          <a:p>
            <a:pPr marL="1029833" lvl="3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espołem Turnera</a:t>
            </a:r>
            <a:endParaRPr lang="pl-PL" dirty="0">
              <a:solidFill>
                <a:schemeClr val="accent1">
                  <a:lumMod val="75000"/>
                </a:schemeClr>
              </a:solidFill>
              <a:cs typeface="Arial" panose="020B0604020202020204"/>
            </a:endParaRPr>
          </a:p>
          <a:p>
            <a:pPr marL="1029833" lvl="3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zewlekłą niewydolnością nerek</a:t>
            </a:r>
          </a:p>
          <a:p>
            <a:pPr marL="1029833" lvl="3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espół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radera-Williego</a:t>
            </a:r>
            <a:endParaRPr lang="pl-PL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1029833" lvl="3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GA</a:t>
            </a:r>
          </a:p>
          <a:p>
            <a:pPr marL="801301" lvl="2" indent="-285750">
              <a:buSzPct val="100000"/>
            </a:pPr>
            <a:r>
              <a:rPr lang="pl-PL" b="1" u="sng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Dorośli: 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terapia zastępcza u osób dorosłych z ciężkim niedoborem hormonu wzrostu. </a:t>
            </a:r>
            <a:r>
              <a:rPr lang="pl-PL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 </a:t>
            </a:r>
            <a:endParaRPr lang="pl-PL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572770" lvl="1" indent="-285750">
              <a:buSzPct val="100000"/>
            </a:pPr>
            <a:r>
              <a:rPr lang="pl-PL" sz="18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efundacja: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Program Lekowy – Przetarg 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Centralny</a:t>
            </a:r>
          </a:p>
          <a:p>
            <a:pPr marL="801301" lvl="2" indent="-285750">
              <a:buSzPct val="100000"/>
            </a:pPr>
            <a:r>
              <a:rPr lang="pl-PL" sz="1601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enotropin</a:t>
            </a:r>
            <a:r>
              <a:rPr lang="pl-PL" sz="160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pl-PL" sz="1601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oQuick</a:t>
            </a:r>
            <a:r>
              <a:rPr lang="pl-PL" sz="160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5,3 mg oraz 12 mg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EA9716A9-5C4F-2442-0E61-9B88EE3937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65225" y="1960618"/>
            <a:ext cx="5782915" cy="415796"/>
          </a:xfrm>
        </p:spPr>
        <p:txBody>
          <a:bodyPr vert="horz" wrap="square" lIns="0" tIns="45720" rIns="0" bIns="45720" rtlCol="0" anchor="t">
            <a:noAutofit/>
          </a:bodyPr>
          <a:lstStyle/>
          <a:p>
            <a:pPr marL="179705"/>
            <a:r>
              <a:rPr lang="en-US" sz="3200" b="1" dirty="0" err="1">
                <a:solidFill>
                  <a:schemeClr val="accent1"/>
                </a:solidFill>
              </a:rPr>
              <a:t>Genotropi</a:t>
            </a:r>
            <a:r>
              <a:rPr lang="pl-PL" sz="3200" b="1" dirty="0">
                <a:solidFill>
                  <a:schemeClr val="accent1"/>
                </a:solidFill>
              </a:rPr>
              <a:t>n (</a:t>
            </a:r>
            <a:r>
              <a:rPr lang="pl-PL" sz="3200" dirty="0" err="1">
                <a:solidFill>
                  <a:schemeClr val="accent1"/>
                </a:solidFill>
              </a:rPr>
              <a:t>soma</a:t>
            </a:r>
            <a:r>
              <a:rPr lang="pl-PL" sz="3200" b="1" dirty="0" err="1">
                <a:solidFill>
                  <a:schemeClr val="accent1"/>
                </a:solidFill>
              </a:rPr>
              <a:t>tropina</a:t>
            </a:r>
            <a:r>
              <a:rPr lang="pl-PL" sz="2800" b="1" dirty="0">
                <a:solidFill>
                  <a:schemeClr val="accent1"/>
                </a:solidFill>
              </a:rPr>
              <a:t>)</a:t>
            </a:r>
            <a:endParaRPr lang="pl-PL" sz="2800" b="1" baseline="30000" dirty="0">
              <a:solidFill>
                <a:schemeClr val="accent1"/>
              </a:solidFill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9E49545B-CE58-A9D6-441D-F2A71D6A6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227" y="216163"/>
            <a:ext cx="11823898" cy="1016237"/>
          </a:xfrm>
        </p:spPr>
        <p:txBody>
          <a:bodyPr/>
          <a:lstStyle/>
          <a:p>
            <a:pPr algn="ctr"/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Pfizer pomógł rosnąć tysiącom dzieci z zaburzeniami wzrostu przez ponad 30 lat</a:t>
            </a:r>
            <a:endParaRPr lang="pl-PL" sz="3600" b="1" spc="-25" dirty="0">
              <a:solidFill>
                <a:srgbClr val="0000CA"/>
              </a:solidFill>
              <a:latin typeface="Pfizer Tomorrow"/>
              <a:cs typeface="Arial"/>
            </a:endParaRPr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6F75E2EF-CBC7-AB1C-A645-3A63829CD26F}"/>
              </a:ext>
            </a:extLst>
          </p:cNvPr>
          <p:cNvSpPr/>
          <p:nvPr/>
        </p:nvSpPr>
        <p:spPr bwMode="gray">
          <a:xfrm>
            <a:off x="4882526" y="1297275"/>
            <a:ext cx="481780" cy="609600"/>
          </a:xfrm>
          <a:prstGeom prst="downArrow">
            <a:avLst/>
          </a:prstGeom>
          <a:solidFill>
            <a:srgbClr val="003FE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 dirty="0">
              <a:ln w="0"/>
              <a:solidFill>
                <a:srgbClr val="003FE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5AC279-1B30-3375-BE9A-51FEBA460F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9190" y="1776426"/>
            <a:ext cx="4282406" cy="18986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F8D5C0E-BCD2-9F7C-755D-F9F044F37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3649" y="3675072"/>
            <a:ext cx="4167947" cy="282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961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4" name="Text Placeholder 3">
            <a:extLst>
              <a:ext uri="{FF2B5EF4-FFF2-40B4-BE49-F238E27FC236}">
                <a16:creationId xmlns:a16="http://schemas.microsoft.com/office/drawing/2014/main" id="{7755BB8A-80E5-CE0B-3910-506B7526C3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55" y="1307594"/>
            <a:ext cx="11292840" cy="396947"/>
          </a:xfrm>
        </p:spPr>
        <p:txBody>
          <a:bodyPr/>
          <a:lstStyle/>
          <a:p>
            <a:r>
              <a:rPr lang="pl-PL" sz="2000" dirty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Wyzwania z</a:t>
            </a:r>
            <a:r>
              <a:rPr kumimoji="0" lang="pl-PL" sz="200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ązane ze stosowaniem</a:t>
            </a:r>
            <a:r>
              <a:rPr lang="pl-PL" sz="2000" b="1" dirty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 </a:t>
            </a:r>
            <a:r>
              <a:rPr lang="pl-PL" sz="2000" dirty="0" err="1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dGH</a:t>
            </a:r>
            <a:endParaRPr lang="en-US" dirty="0"/>
          </a:p>
        </p:txBody>
      </p:sp>
      <p:sp>
        <p:nvSpPr>
          <p:cNvPr id="41986" name="Tytuł 1">
            <a:extLst>
              <a:ext uri="{FF2B5EF4-FFF2-40B4-BE49-F238E27FC236}">
                <a16:creationId xmlns:a16="http://schemas.microsoft.com/office/drawing/2014/main" id="{9AD301C2-0026-3A1E-68DE-E00152622A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36042" y="450837"/>
            <a:ext cx="11076104" cy="850392"/>
          </a:xfrm>
        </p:spPr>
        <p:txBody>
          <a:bodyPr anchor="t">
            <a:normAutofit/>
          </a:bodyPr>
          <a:lstStyle/>
          <a:p>
            <a:pPr algn="ctr"/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Czynniki wpływające na słabe przestrzeganie zaleceń:</a:t>
            </a:r>
            <a:endParaRPr lang="pl-PL" sz="3200" b="1" spc="-25" dirty="0"/>
          </a:p>
        </p:txBody>
      </p:sp>
      <p:sp>
        <p:nvSpPr>
          <p:cNvPr id="41996" name="Text Placeholder 5">
            <a:extLst>
              <a:ext uri="{FF2B5EF4-FFF2-40B4-BE49-F238E27FC236}">
                <a16:creationId xmlns:a16="http://schemas.microsoft.com/office/drawing/2014/main" id="{AE6D42FE-416E-38C9-BAD6-FEAD5AEA3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8055" y="1801368"/>
            <a:ext cx="11292840" cy="521208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41988" name="Symbol zastępczy zawartości 2">
            <a:extLst>
              <a:ext uri="{FF2B5EF4-FFF2-40B4-BE49-F238E27FC236}">
                <a16:creationId xmlns:a16="http://schemas.microsoft.com/office/drawing/2014/main" id="{C38C83E7-0C95-E1E4-F879-4AB24E234EF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0426569"/>
              </p:ext>
            </p:extLst>
          </p:nvPr>
        </p:nvGraphicFramePr>
        <p:xfrm>
          <a:off x="448055" y="2368296"/>
          <a:ext cx="11291583" cy="3383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pole tekstowe 1">
            <a:extLst>
              <a:ext uri="{FF2B5EF4-FFF2-40B4-BE49-F238E27FC236}">
                <a16:creationId xmlns:a16="http://schemas.microsoft.com/office/drawing/2014/main" id="{A326F8E7-F982-8AC6-794E-A76DCE6288A1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3789082" y="6485514"/>
            <a:ext cx="6471542" cy="143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pl-PL" sz="1100" dirty="0">
                <a:solidFill>
                  <a:srgbClr val="5B5249"/>
                </a:solidFill>
                <a:latin typeface="Times New Roman"/>
              </a:rPr>
              <a:t>Graham S et al. </a:t>
            </a:r>
            <a:r>
              <a:rPr kumimoji="1" lang="pl-PL" sz="1100" dirty="0" err="1">
                <a:solidFill>
                  <a:srgbClr val="5B5249"/>
                </a:solidFill>
                <a:latin typeface="Times New Roman"/>
              </a:rPr>
              <a:t>Horm</a:t>
            </a:r>
            <a:r>
              <a:rPr kumimoji="1" lang="pl-PL" sz="1100" dirty="0">
                <a:solidFill>
                  <a:srgbClr val="5B5249"/>
                </a:solidFill>
                <a:latin typeface="Times New Roman"/>
              </a:rPr>
              <a:t>. Res. </a:t>
            </a:r>
            <a:r>
              <a:rPr kumimoji="1" lang="pl-PL" sz="1100" dirty="0" err="1">
                <a:solidFill>
                  <a:srgbClr val="5B5249"/>
                </a:solidFill>
                <a:latin typeface="Times New Roman"/>
              </a:rPr>
              <a:t>Pediatr</a:t>
            </a:r>
            <a:r>
              <a:rPr kumimoji="1" lang="pl-PL" sz="1100" dirty="0">
                <a:solidFill>
                  <a:srgbClr val="5B5249"/>
                </a:solidFill>
                <a:latin typeface="Times New Roman"/>
              </a:rPr>
              <a:t> 2018;90:221-7; Fisher BG, </a:t>
            </a:r>
            <a:r>
              <a:rPr kumimoji="1" lang="pl-PL" sz="1100" dirty="0" err="1">
                <a:solidFill>
                  <a:srgbClr val="5B5249"/>
                </a:solidFill>
                <a:latin typeface="Times New Roman"/>
              </a:rPr>
              <a:t>Acerini</a:t>
            </a:r>
            <a:r>
              <a:rPr kumimoji="1" lang="pl-PL" sz="1100" dirty="0">
                <a:solidFill>
                  <a:srgbClr val="5B5249"/>
                </a:solidFill>
                <a:latin typeface="Times New Roman"/>
              </a:rPr>
              <a:t> CL. </a:t>
            </a:r>
            <a:r>
              <a:rPr kumimoji="1" lang="pl-PL" sz="1100" dirty="0" err="1">
                <a:solidFill>
                  <a:srgbClr val="5B5249"/>
                </a:solidFill>
                <a:latin typeface="Times New Roman"/>
              </a:rPr>
              <a:t>Horm</a:t>
            </a:r>
            <a:r>
              <a:rPr kumimoji="1" lang="pl-PL" sz="1100" dirty="0">
                <a:solidFill>
                  <a:srgbClr val="5B5249"/>
                </a:solidFill>
                <a:latin typeface="Times New Roman"/>
              </a:rPr>
              <a:t>. Res. </a:t>
            </a:r>
            <a:r>
              <a:rPr kumimoji="1" lang="pl-PL" sz="1100" dirty="0" err="1">
                <a:solidFill>
                  <a:srgbClr val="5B5249"/>
                </a:solidFill>
                <a:latin typeface="Times New Roman"/>
              </a:rPr>
              <a:t>Pediatr</a:t>
            </a:r>
            <a:r>
              <a:rPr kumimoji="1" lang="pl-PL" sz="1100" dirty="0">
                <a:solidFill>
                  <a:srgbClr val="5B5249"/>
                </a:solidFill>
                <a:latin typeface="Times New Roman"/>
              </a:rPr>
              <a:t> 2013; 79: 189-96. 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B1D20381-9F6D-0DA9-D12B-231ADBD0AC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4" y="6080856"/>
            <a:ext cx="3486028" cy="64623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Motyw pakietu Office">
  <a:themeElements>
    <a:clrScheme name="Custom 9">
      <a:dk1>
        <a:srgbClr val="000000"/>
      </a:dk1>
      <a:lt1>
        <a:srgbClr val="FFFFFF"/>
      </a:lt1>
      <a:dk2>
        <a:srgbClr val="3E74EA"/>
      </a:dk2>
      <a:lt2>
        <a:srgbClr val="F3DDBA"/>
      </a:lt2>
      <a:accent1>
        <a:srgbClr val="0000C8"/>
      </a:accent1>
      <a:accent2>
        <a:srgbClr val="0095FF"/>
      </a:accent2>
      <a:accent3>
        <a:srgbClr val="89BE68"/>
      </a:accent3>
      <a:accent4>
        <a:srgbClr val="C782FF"/>
      </a:accent4>
      <a:accent5>
        <a:srgbClr val="64C3D9"/>
      </a:accent5>
      <a:accent6>
        <a:srgbClr val="FF8947"/>
      </a:accent6>
      <a:hlink>
        <a:srgbClr val="3869E9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8" id="{71BAFA42-AA9E-E44B-A733-7D5F1C7D6A00}" vid="{FEE1EBC4-09B7-AC41-85E1-D741BAB8B5EE}"/>
    </a:ext>
  </a:extLst>
</a:theme>
</file>

<file path=ppt/theme/theme2.xml><?xml version="1.0" encoding="utf-8"?>
<a:theme xmlns:a="http://schemas.openxmlformats.org/drawingml/2006/main" name="8_Office Theme">
  <a:themeElements>
    <a:clrScheme name="Custom 9">
      <a:dk1>
        <a:srgbClr val="000000"/>
      </a:dk1>
      <a:lt1>
        <a:srgbClr val="FFFFFF"/>
      </a:lt1>
      <a:dk2>
        <a:srgbClr val="3E74EA"/>
      </a:dk2>
      <a:lt2>
        <a:srgbClr val="F3DDBA"/>
      </a:lt2>
      <a:accent1>
        <a:srgbClr val="0000C8"/>
      </a:accent1>
      <a:accent2>
        <a:srgbClr val="0095FF"/>
      </a:accent2>
      <a:accent3>
        <a:srgbClr val="89BE68"/>
      </a:accent3>
      <a:accent4>
        <a:srgbClr val="C782FF"/>
      </a:accent4>
      <a:accent5>
        <a:srgbClr val="64C3D9"/>
      </a:accent5>
      <a:accent6>
        <a:srgbClr val="FF8947"/>
      </a:accent6>
      <a:hlink>
        <a:srgbClr val="3869E9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fizer-PurposeBlueprint-PowerPoint-Template-16x9.potx" id="{2BDA3E54-97F4-4126-8CBC-9260892DB294}" vid="{9D4DE4BD-DC6D-4310-877B-233A8E339FDE}"/>
    </a:ext>
  </a:extLst>
</a:theme>
</file>

<file path=ppt/theme/theme3.xml><?xml version="1.0" encoding="utf-8"?>
<a:theme xmlns:a="http://schemas.openxmlformats.org/drawingml/2006/main" name="Somatrogon SMP 2021">
  <a:themeElements>
    <a:clrScheme name="Pillar Pallette 01">
      <a:dk1>
        <a:srgbClr val="434343"/>
      </a:dk1>
      <a:lt1>
        <a:sysClr val="window" lastClr="FFFFFF"/>
      </a:lt1>
      <a:dk2>
        <a:srgbClr val="AB5592"/>
      </a:dk2>
      <a:lt2>
        <a:srgbClr val="D5D9D9"/>
      </a:lt2>
      <a:accent1>
        <a:srgbClr val="6E7DC8"/>
      </a:accent1>
      <a:accent2>
        <a:srgbClr val="813F6E"/>
      </a:accent2>
      <a:accent3>
        <a:srgbClr val="529470"/>
      </a:accent3>
      <a:accent4>
        <a:srgbClr val="3D6D95"/>
      </a:accent4>
      <a:accent5>
        <a:srgbClr val="A0CD31"/>
      </a:accent5>
      <a:accent6>
        <a:srgbClr val="E5A627"/>
      </a:accent6>
      <a:hlink>
        <a:srgbClr val="3D6D95"/>
      </a:hlink>
      <a:folHlink>
        <a:srgbClr val="7533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 StandardTemplate16-9.pptx" id="{839C07BC-7203-4BE8-B0DD-9D0E458451A7}" vid="{D44C476A-3CE4-48A6-BE9D-6DE372925290}"/>
    </a:ext>
  </a:extLst>
</a:theme>
</file>

<file path=ppt/theme/theme4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genla">
    <a:dk1>
      <a:srgbClr val="000000"/>
    </a:dk1>
    <a:lt1>
      <a:srgbClr val="FFFFFF"/>
    </a:lt1>
    <a:dk2>
      <a:srgbClr val="919191"/>
    </a:dk2>
    <a:lt2>
      <a:srgbClr val="FEFFFF"/>
    </a:lt2>
    <a:accent1>
      <a:srgbClr val="151F6D"/>
    </a:accent1>
    <a:accent2>
      <a:srgbClr val="CE0056"/>
    </a:accent2>
    <a:accent3>
      <a:srgbClr val="CFDE00"/>
    </a:accent3>
    <a:accent4>
      <a:srgbClr val="4C4C4F"/>
    </a:accent4>
    <a:accent5>
      <a:srgbClr val="415EA6"/>
    </a:accent5>
    <a:accent6>
      <a:srgbClr val="8BC5DE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12">
    <a:dk1>
      <a:srgbClr val="000000"/>
    </a:dk1>
    <a:lt1>
      <a:srgbClr val="FFFFFF"/>
    </a:lt1>
    <a:dk2>
      <a:srgbClr val="666666"/>
    </a:dk2>
    <a:lt2>
      <a:srgbClr val="F5F5F5"/>
    </a:lt2>
    <a:accent1>
      <a:srgbClr val="0033FF"/>
    </a:accent1>
    <a:accent2>
      <a:srgbClr val="46DFDA"/>
    </a:accent2>
    <a:accent3>
      <a:srgbClr val="00CEA5"/>
    </a:accent3>
    <a:accent4>
      <a:srgbClr val="FFE913"/>
    </a:accent4>
    <a:accent5>
      <a:srgbClr val="FF2B26"/>
    </a:accent5>
    <a:accent6>
      <a:srgbClr val="2C116D"/>
    </a:accent6>
    <a:hlink>
      <a:srgbClr val="0033FF"/>
    </a:hlink>
    <a:folHlink>
      <a:srgbClr val="0033FF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9C55C27DB9D6E4C81C81883C75CE298" ma:contentTypeVersion="8" ma:contentTypeDescription="Utwórz nowy dokument." ma:contentTypeScope="" ma:versionID="8f2f698505ed7db05c7fe3518190d1ce">
  <xsd:schema xmlns:xsd="http://www.w3.org/2001/XMLSchema" xmlns:xs="http://www.w3.org/2001/XMLSchema" xmlns:p="http://schemas.microsoft.com/office/2006/metadata/properties" xmlns:ns2="69b7fb19-8693-4d15-89f6-95eda78bbe92" targetNamespace="http://schemas.microsoft.com/office/2006/metadata/properties" ma:root="true" ma:fieldsID="ef957c4ddfb253a96d33e8f931791234" ns2:_="">
    <xsd:import namespace="69b7fb19-8693-4d15-89f6-95eda78bbe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7fb19-8693-4d15-89f6-95eda78bbe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CF6234-8BBC-4584-A4ED-44BD18058C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9815226-189C-49E9-A326-D598386BC9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b7fb19-8693-4d15-89f6-95eda78bbe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DA73EB7-5812-470E-996F-17EAAD19B17C}">
  <ds:schemaRefs>
    <ds:schemaRef ds:uri="69b7fb19-8693-4d15-89f6-95eda78bbe92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fizer-PurposeBlueprint-PowerPoint-Template-16x9-Reduced</Template>
  <TotalTime>1139</TotalTime>
  <Words>4059</Words>
  <Application>Microsoft Office PowerPoint</Application>
  <PresentationFormat>Niestandardowy</PresentationFormat>
  <Paragraphs>522</Paragraphs>
  <Slides>55</Slides>
  <Notes>26</Notes>
  <HiddenSlides>0</HiddenSlides>
  <MMClips>0</MMClips>
  <ScaleCrop>false</ScaleCrop>
  <HeadingPairs>
    <vt:vector size="8" baseType="variant">
      <vt:variant>
        <vt:lpstr>Używane czcionki</vt:lpstr>
      </vt:variant>
      <vt:variant>
        <vt:i4>15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55</vt:i4>
      </vt:variant>
    </vt:vector>
  </HeadingPairs>
  <TitlesOfParts>
    <vt:vector size="74" baseType="lpstr">
      <vt:lpstr>MS PGothic</vt:lpstr>
      <vt:lpstr>-apple-system</vt:lpstr>
      <vt:lpstr>Arial</vt:lpstr>
      <vt:lpstr>Arial</vt:lpstr>
      <vt:lpstr>Arial Narrow</vt:lpstr>
      <vt:lpstr>BlinkMacSystemFont</vt:lpstr>
      <vt:lpstr>Calibri</vt:lpstr>
      <vt:lpstr>Open Sans</vt:lpstr>
      <vt:lpstr>Pfizer Diatype</vt:lpstr>
      <vt:lpstr>Pfizer Diatype Medium</vt:lpstr>
      <vt:lpstr>Pfizer Tomorrow</vt:lpstr>
      <vt:lpstr>Poppins</vt:lpstr>
      <vt:lpstr>Segoe UI</vt:lpstr>
      <vt:lpstr>Times New Roman</vt:lpstr>
      <vt:lpstr>Wingdings</vt:lpstr>
      <vt:lpstr>1_Motyw pakietu Office</vt:lpstr>
      <vt:lpstr>8_Office Theme</vt:lpstr>
      <vt:lpstr>Somatrogon SMP 2021</vt:lpstr>
      <vt:lpstr>think-cell Slide</vt:lpstr>
      <vt:lpstr>Prezentacja programu PowerPoint</vt:lpstr>
      <vt:lpstr>Agenda</vt:lpstr>
      <vt:lpstr>Agenda</vt:lpstr>
      <vt:lpstr>Prezentacja programu PowerPoint</vt:lpstr>
      <vt:lpstr>Prezentacja programu PowerPoint</vt:lpstr>
      <vt:lpstr>Prezentacja programu PowerPoint</vt:lpstr>
      <vt:lpstr>Prezentacja programu PowerPoint</vt:lpstr>
      <vt:lpstr>Pfizer pomógł rosnąć tysiącom dzieci z zaburzeniami wzrostu przez ponad 30 lat</vt:lpstr>
      <vt:lpstr>Czynniki wpływające na słabe przestrzeganie zaleceń:</vt:lpstr>
      <vt:lpstr>Prezentacja programu PowerPoint</vt:lpstr>
      <vt:lpstr>Roczne początkowe HV = 9,4 cm ( jeśli dobre i bardzo dobre przestrzeganie zaleceń) vs 7,5 cm (jeśli słabe) </vt:lpstr>
      <vt:lpstr>Agenda</vt:lpstr>
      <vt:lpstr>Prezentacja programu PowerPoint</vt:lpstr>
      <vt:lpstr>Long acting growth hormone (LAGH)</vt:lpstr>
      <vt:lpstr>Somatrogon (Ngenla)</vt:lpstr>
      <vt:lpstr>Agenda</vt:lpstr>
      <vt:lpstr>Somatrogon clinical programme for paediatric patients</vt:lpstr>
      <vt:lpstr>  </vt:lpstr>
      <vt:lpstr>Prezentacja programu PowerPoint</vt:lpstr>
      <vt:lpstr>Prezentacja programu PowerPoint</vt:lpstr>
      <vt:lpstr>Prezentacja programu PowerPoint</vt:lpstr>
      <vt:lpstr>Roczne tempo wzrostu w 12. miesiącu 1  </vt:lpstr>
      <vt:lpstr>Prezentacja programu PowerPoint</vt:lpstr>
      <vt:lpstr>Bezpieczeństwo – ból w miejscu wkłucia</vt:lpstr>
      <vt:lpstr>Skuteczność Bezpieczeństwo  </vt:lpstr>
      <vt:lpstr>Prezentacja programu PowerPoint</vt:lpstr>
      <vt:lpstr>Agenda</vt:lpstr>
      <vt:lpstr>Prezentacja programu PowerPoint</vt:lpstr>
      <vt:lpstr>Somatrogon: Wstrzykiwacz napełniony</vt:lpstr>
      <vt:lpstr>Prezentacja programu PowerPoint</vt:lpstr>
      <vt:lpstr>Praktyczne instrukcje dotyczące stosowania cotygodniowego Somatrogonu</vt:lpstr>
      <vt:lpstr>Prezentacja programu PowerPoint</vt:lpstr>
      <vt:lpstr>Praktyczne instrukcje dotyczące stosowania cotygodniowego Somatrogonu</vt:lpstr>
      <vt:lpstr>Praktyczne instrukcje dotyczące stosowania cotygodniowego Somatrogonu</vt:lpstr>
      <vt:lpstr>Agenda</vt:lpstr>
      <vt:lpstr>Monitorowanie IGF-1</vt:lpstr>
      <vt:lpstr>Prezentacja programu PowerPoint</vt:lpstr>
      <vt:lpstr>Różnice farmakodynamicznych między tygodniowym LAGH a codziennym hormonem wzrostu (A = szczyt, B = średnia, C = najniższy poziom)</vt:lpstr>
      <vt:lpstr>Tabela umożliwiająca przeliczenie wyniku IGF-1 lub IGF-1 SDS uzyskanego w innym czasie niż 4 dni po poprzedniej dawce Somatrogonu na oczekiwany średni wynik na podstawie tego pomiaru.</vt:lpstr>
      <vt:lpstr>Przeliczanie wyniku IGF-1 lub IGF-1 SDS uzyskanego w innym czasie niż 4 dni po poprzedniej dawce Somatrogonu na oczekiwany średni wynik na podstawie tego pomiaru.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M@ciek Plebanek</dc:creator>
  <dc:description>P113901_Pfizer PowerPoint Template _Logo_Confidential_16x9</dc:description>
  <cp:lastModifiedBy>Kaczyńska, Katarzyna</cp:lastModifiedBy>
  <cp:revision>149</cp:revision>
  <cp:lastPrinted>2017-11-29T15:35:51Z</cp:lastPrinted>
  <dcterms:created xsi:type="dcterms:W3CDTF">2023-06-12T08:23:18Z</dcterms:created>
  <dcterms:modified xsi:type="dcterms:W3CDTF">2025-03-27T11:2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99C55C27DB9D6E4C81C81883C75CE298</vt:lpwstr>
  </property>
  <property fmtid="{D5CDD505-2E9C-101B-9397-08002B2CF9AE}" pid="5" name="MSIP_Label_fa6f01b5-c24b-4fa8-8e8f-cee31f47fe31_Enabled">
    <vt:lpwstr>true</vt:lpwstr>
  </property>
  <property fmtid="{D5CDD505-2E9C-101B-9397-08002B2CF9AE}" pid="6" name="MSIP_Label_fa6f01b5-c24b-4fa8-8e8f-cee31f47fe31_SetDate">
    <vt:lpwstr>2023-06-12T08:25:00Z</vt:lpwstr>
  </property>
  <property fmtid="{D5CDD505-2E9C-101B-9397-08002B2CF9AE}" pid="7" name="MSIP_Label_fa6f01b5-c24b-4fa8-8e8f-cee31f47fe31_Method">
    <vt:lpwstr>Privileged</vt:lpwstr>
  </property>
  <property fmtid="{D5CDD505-2E9C-101B-9397-08002B2CF9AE}" pid="8" name="MSIP_Label_fa6f01b5-c24b-4fa8-8e8f-cee31f47fe31_Name">
    <vt:lpwstr>fa6f01b5-c24b-4fa8-8e8f-cee31f47fe31</vt:lpwstr>
  </property>
  <property fmtid="{D5CDD505-2E9C-101B-9397-08002B2CF9AE}" pid="9" name="MSIP_Label_fa6f01b5-c24b-4fa8-8e8f-cee31f47fe31_SiteId">
    <vt:lpwstr>7a916015-20ae-4ad1-9170-eefd915e9272</vt:lpwstr>
  </property>
  <property fmtid="{D5CDD505-2E9C-101B-9397-08002B2CF9AE}" pid="10" name="MSIP_Label_fa6f01b5-c24b-4fa8-8e8f-cee31f47fe31_ActionId">
    <vt:lpwstr>0a23bed6-859b-4534-aaac-459aa2370e99</vt:lpwstr>
  </property>
  <property fmtid="{D5CDD505-2E9C-101B-9397-08002B2CF9AE}" pid="11" name="MSIP_Label_fa6f01b5-c24b-4fa8-8e8f-cee31f47fe31_ContentBits">
    <vt:lpwstr>0</vt:lpwstr>
  </property>
  <property fmtid="{D5CDD505-2E9C-101B-9397-08002B2CF9AE}" pid="12" name="MediaServiceImageTags">
    <vt:lpwstr/>
  </property>
</Properties>
</file>